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9" r:id="rId9"/>
    <p:sldMasterId id="2147483993" r:id="rId10"/>
    <p:sldMasterId id="2147484009" r:id="rId11"/>
  </p:sldMasterIdLst>
  <p:notesMasterIdLst>
    <p:notesMasterId r:id="rId40"/>
  </p:notesMasterIdLst>
  <p:handoutMasterIdLst>
    <p:handoutMasterId r:id="rId41"/>
  </p:handoutMasterIdLst>
  <p:sldIdLst>
    <p:sldId id="256" r:id="rId12"/>
    <p:sldId id="424" r:id="rId13"/>
    <p:sldId id="441" r:id="rId14"/>
    <p:sldId id="420" r:id="rId15"/>
    <p:sldId id="442" r:id="rId16"/>
    <p:sldId id="444" r:id="rId17"/>
    <p:sldId id="434" r:id="rId18"/>
    <p:sldId id="440" r:id="rId19"/>
    <p:sldId id="437" r:id="rId20"/>
    <p:sldId id="438" r:id="rId21"/>
    <p:sldId id="443" r:id="rId22"/>
    <p:sldId id="439" r:id="rId23"/>
    <p:sldId id="427" r:id="rId24"/>
    <p:sldId id="430" r:id="rId25"/>
    <p:sldId id="426" r:id="rId26"/>
    <p:sldId id="446" r:id="rId27"/>
    <p:sldId id="373" r:id="rId28"/>
    <p:sldId id="447" r:id="rId29"/>
    <p:sldId id="422" r:id="rId30"/>
    <p:sldId id="428" r:id="rId31"/>
    <p:sldId id="320" r:id="rId32"/>
    <p:sldId id="421" r:id="rId33"/>
    <p:sldId id="418" r:id="rId34"/>
    <p:sldId id="416" r:id="rId35"/>
    <p:sldId id="382" r:id="rId36"/>
    <p:sldId id="384" r:id="rId37"/>
    <p:sldId id="448" r:id="rId38"/>
    <p:sldId id="445" r:id="rId39"/>
  </p:sldIdLst>
  <p:sldSz cx="9729788" cy="7443788"/>
  <p:notesSz cx="6797675" cy="9928225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007C"/>
    <a:srgbClr val="FF3300"/>
    <a:srgbClr val="FFFF00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986" autoAdjust="0"/>
  </p:normalViewPr>
  <p:slideViewPr>
    <p:cSldViewPr>
      <p:cViewPr>
        <p:scale>
          <a:sx n="70" d="100"/>
          <a:sy n="70" d="100"/>
        </p:scale>
        <p:origin x="-1038" y="-66"/>
      </p:cViewPr>
      <p:guideLst>
        <p:guide orient="horz" pos="2345"/>
        <p:guide pos="30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65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tags" Target="tags/tag1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3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2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1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AFB5F6-6C11-43FF-9649-0E347EBF7F11}" type="datetimeFigureOut">
              <a:rPr lang="nl-BE" smtClean="0"/>
              <a:t>4/06/2014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164AF6-8AA3-433D-955F-87918A6B8E79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382287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5016B7-17CD-45AF-87E4-CC9EA246CEA6}" type="datetimeFigureOut">
              <a:rPr lang="en-US" smtClean="0"/>
              <a:t>6/4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6788" y="744538"/>
            <a:ext cx="48641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75B488-CA6E-4989-9CBE-182D7257AA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407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over"/>
          <p:cNvPicPr>
            <a:picLocks noChangeAspect="1" noChangeArrowheads="1"/>
          </p:cNvPicPr>
          <p:nvPr/>
        </p:nvPicPr>
        <p:blipFill>
          <a:blip r:embed="rId2" cstate="print">
            <a:grayscl/>
          </a:blip>
          <a:srcRect/>
          <a:stretch>
            <a:fillRect/>
          </a:stretch>
        </p:blipFill>
        <p:spPr bwMode="auto">
          <a:xfrm>
            <a:off x="0" y="0"/>
            <a:ext cx="9729788" cy="7443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5" descr="MARS logo lockup_mediumsize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788891" y="2236583"/>
            <a:ext cx="3753401" cy="1252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5696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86489" y="5458778"/>
            <a:ext cx="8270320" cy="744379"/>
          </a:xfrm>
        </p:spPr>
        <p:txBody>
          <a:bodyPr anchor="t"/>
          <a:lstStyle>
            <a:lvl1pPr>
              <a:defRPr sz="1900">
                <a:solidFill>
                  <a:srgbClr val="868F99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8569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945957" y="4631690"/>
            <a:ext cx="6810852" cy="992505"/>
          </a:xfrm>
        </p:spPr>
        <p:txBody>
          <a:bodyPr anchor="ctr"/>
          <a:lstStyle>
            <a:lvl1pPr marL="0" indent="0" algn="r">
              <a:lnSpc>
                <a:spcPct val="80000"/>
              </a:lnSpc>
              <a:buFontTx/>
              <a:buNone/>
              <a:defRPr sz="3000" b="1">
                <a:solidFill>
                  <a:srgbClr val="005595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091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1263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6622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291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9326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596635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8119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911354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56393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4077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474982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8257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29734" y="2312399"/>
            <a:ext cx="8270320" cy="159559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459468" y="4218147"/>
            <a:ext cx="6810852" cy="190230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90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3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4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5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CD6D35-C0D3-4E45-86DF-1AC9920CFD18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4/06/2014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7008A-1C09-4B3B-A1F3-2270F49432F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16837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7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635958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8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289315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1764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149876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0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570245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4108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496075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340213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565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19907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CD6D35-C0D3-4E45-86DF-1AC9920CFD18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4/06/2014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7008A-1C09-4B3B-A1F3-2270F49432F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68442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4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873599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037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906746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6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921116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7723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146708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8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317448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6271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432544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49816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68586" y="4783324"/>
            <a:ext cx="8270320" cy="1478419"/>
          </a:xfrm>
        </p:spPr>
        <p:txBody>
          <a:bodyPr anchor="t"/>
          <a:lstStyle>
            <a:lvl1pPr algn="l">
              <a:defRPr sz="4300" b="1" cap="all"/>
            </a:lvl1pPr>
          </a:lstStyle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68586" y="3154996"/>
            <a:ext cx="8270320" cy="1628328"/>
          </a:xfrm>
        </p:spPr>
        <p:txBody>
          <a:bodyPr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1pPr>
            <a:lvl2pPr marL="4906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8133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47200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6266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45333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94400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43466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92533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CD6D35-C0D3-4E45-86DF-1AC9920CFD18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4/06/2014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7008A-1C09-4B3B-A1F3-2270F49432F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82116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1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4279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5495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743172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3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0521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6869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600241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5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816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7490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8864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57088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86489" y="1736884"/>
            <a:ext cx="4297323" cy="4912556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945976" y="1736884"/>
            <a:ext cx="4297323" cy="4912556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CD6D35-C0D3-4E45-86DF-1AC9920CFD18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4/06/2014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7008A-1C09-4B3B-A1F3-2270F49432F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96537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43651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86489" y="1666238"/>
            <a:ext cx="4299013" cy="694408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0667" indent="0">
              <a:buNone/>
              <a:defRPr sz="2100" b="1"/>
            </a:lvl2pPr>
            <a:lvl3pPr marL="981334" indent="0">
              <a:buNone/>
              <a:defRPr sz="1900" b="1"/>
            </a:lvl3pPr>
            <a:lvl4pPr marL="1472001" indent="0">
              <a:buNone/>
              <a:defRPr sz="1700" b="1"/>
            </a:lvl4pPr>
            <a:lvl5pPr marL="1962668" indent="0">
              <a:buNone/>
              <a:defRPr sz="1700" b="1"/>
            </a:lvl5pPr>
            <a:lvl6pPr marL="2453335" indent="0">
              <a:buNone/>
              <a:defRPr sz="1700" b="1"/>
            </a:lvl6pPr>
            <a:lvl7pPr marL="2944002" indent="0">
              <a:buNone/>
              <a:defRPr sz="1700" b="1"/>
            </a:lvl7pPr>
            <a:lvl8pPr marL="3434669" indent="0">
              <a:buNone/>
              <a:defRPr sz="1700" b="1"/>
            </a:lvl8pPr>
            <a:lvl9pPr marL="3925336" indent="0">
              <a:buNone/>
              <a:defRPr sz="17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86489" y="2360646"/>
            <a:ext cx="4299013" cy="4288794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942598" y="1666238"/>
            <a:ext cx="4300701" cy="694408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0667" indent="0">
              <a:buNone/>
              <a:defRPr sz="2100" b="1"/>
            </a:lvl2pPr>
            <a:lvl3pPr marL="981334" indent="0">
              <a:buNone/>
              <a:defRPr sz="1900" b="1"/>
            </a:lvl3pPr>
            <a:lvl4pPr marL="1472001" indent="0">
              <a:buNone/>
              <a:defRPr sz="1700" b="1"/>
            </a:lvl4pPr>
            <a:lvl5pPr marL="1962668" indent="0">
              <a:buNone/>
              <a:defRPr sz="1700" b="1"/>
            </a:lvl5pPr>
            <a:lvl6pPr marL="2453335" indent="0">
              <a:buNone/>
              <a:defRPr sz="1700" b="1"/>
            </a:lvl6pPr>
            <a:lvl7pPr marL="2944002" indent="0">
              <a:buNone/>
              <a:defRPr sz="1700" b="1"/>
            </a:lvl7pPr>
            <a:lvl8pPr marL="3434669" indent="0">
              <a:buNone/>
              <a:defRPr sz="1700" b="1"/>
            </a:lvl8pPr>
            <a:lvl9pPr marL="3925336" indent="0">
              <a:buNone/>
              <a:defRPr sz="17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942598" y="2360646"/>
            <a:ext cx="4300701" cy="4288794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CD6D35-C0D3-4E45-86DF-1AC9920CFD18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4/06/2014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7008A-1C09-4B3B-A1F3-2270F49432F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5654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CD6D35-C0D3-4E45-86DF-1AC9920CFD18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4/06/2014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7008A-1C09-4B3B-A1F3-2270F49432F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4469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CD6D35-C0D3-4E45-86DF-1AC9920CFD18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4/06/2014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7008A-1C09-4B3B-A1F3-2270F49432F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741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86490" y="296373"/>
            <a:ext cx="3201033" cy="1261309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04077" y="296373"/>
            <a:ext cx="5439222" cy="6353067"/>
          </a:xfrm>
        </p:spPr>
        <p:txBody>
          <a:bodyPr/>
          <a:lstStyle>
            <a:lvl1pPr>
              <a:defRPr sz="3400"/>
            </a:lvl1pPr>
            <a:lvl2pPr>
              <a:defRPr sz="3000"/>
            </a:lvl2pPr>
            <a:lvl3pPr>
              <a:defRPr sz="26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86490" y="1557682"/>
            <a:ext cx="3201033" cy="5091758"/>
          </a:xfrm>
        </p:spPr>
        <p:txBody>
          <a:bodyPr/>
          <a:lstStyle>
            <a:lvl1pPr marL="0" indent="0">
              <a:buNone/>
              <a:defRPr sz="1500"/>
            </a:lvl1pPr>
            <a:lvl2pPr marL="490667" indent="0">
              <a:buNone/>
              <a:defRPr sz="1300"/>
            </a:lvl2pPr>
            <a:lvl3pPr marL="981334" indent="0">
              <a:buNone/>
              <a:defRPr sz="1100"/>
            </a:lvl3pPr>
            <a:lvl4pPr marL="1472001" indent="0">
              <a:buNone/>
              <a:defRPr sz="1000"/>
            </a:lvl4pPr>
            <a:lvl5pPr marL="1962668" indent="0">
              <a:buNone/>
              <a:defRPr sz="1000"/>
            </a:lvl5pPr>
            <a:lvl6pPr marL="2453335" indent="0">
              <a:buNone/>
              <a:defRPr sz="1000"/>
            </a:lvl6pPr>
            <a:lvl7pPr marL="2944002" indent="0">
              <a:buNone/>
              <a:defRPr sz="1000"/>
            </a:lvl7pPr>
            <a:lvl8pPr marL="3434669" indent="0">
              <a:buNone/>
              <a:defRPr sz="1000"/>
            </a:lvl8pPr>
            <a:lvl9pPr marL="3925336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CD6D35-C0D3-4E45-86DF-1AC9920CFD18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4/06/2014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7008A-1C09-4B3B-A1F3-2270F49432F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799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07106" y="5210652"/>
            <a:ext cx="5837873" cy="615147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907106" y="665116"/>
            <a:ext cx="5837873" cy="4466273"/>
          </a:xfrm>
        </p:spPr>
        <p:txBody>
          <a:bodyPr/>
          <a:lstStyle>
            <a:lvl1pPr marL="0" indent="0">
              <a:buNone/>
              <a:defRPr sz="3400"/>
            </a:lvl1pPr>
            <a:lvl2pPr marL="490667" indent="0">
              <a:buNone/>
              <a:defRPr sz="3000"/>
            </a:lvl2pPr>
            <a:lvl3pPr marL="981334" indent="0">
              <a:buNone/>
              <a:defRPr sz="2600"/>
            </a:lvl3pPr>
            <a:lvl4pPr marL="1472001" indent="0">
              <a:buNone/>
              <a:defRPr sz="2100"/>
            </a:lvl4pPr>
            <a:lvl5pPr marL="1962668" indent="0">
              <a:buNone/>
              <a:defRPr sz="2100"/>
            </a:lvl5pPr>
            <a:lvl6pPr marL="2453335" indent="0">
              <a:buNone/>
              <a:defRPr sz="2100"/>
            </a:lvl6pPr>
            <a:lvl7pPr marL="2944002" indent="0">
              <a:buNone/>
              <a:defRPr sz="2100"/>
            </a:lvl7pPr>
            <a:lvl8pPr marL="3434669" indent="0">
              <a:buNone/>
              <a:defRPr sz="2100"/>
            </a:lvl8pPr>
            <a:lvl9pPr marL="3925336" indent="0">
              <a:buNone/>
              <a:defRPr sz="2100"/>
            </a:lvl9pPr>
          </a:lstStyle>
          <a:p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907106" y="5825798"/>
            <a:ext cx="5837873" cy="873611"/>
          </a:xfrm>
        </p:spPr>
        <p:txBody>
          <a:bodyPr/>
          <a:lstStyle>
            <a:lvl1pPr marL="0" indent="0">
              <a:buNone/>
              <a:defRPr sz="1500"/>
            </a:lvl1pPr>
            <a:lvl2pPr marL="490667" indent="0">
              <a:buNone/>
              <a:defRPr sz="1300"/>
            </a:lvl2pPr>
            <a:lvl3pPr marL="981334" indent="0">
              <a:buNone/>
              <a:defRPr sz="1100"/>
            </a:lvl3pPr>
            <a:lvl4pPr marL="1472001" indent="0">
              <a:buNone/>
              <a:defRPr sz="1000"/>
            </a:lvl4pPr>
            <a:lvl5pPr marL="1962668" indent="0">
              <a:buNone/>
              <a:defRPr sz="1000"/>
            </a:lvl5pPr>
            <a:lvl6pPr marL="2453335" indent="0">
              <a:buNone/>
              <a:defRPr sz="1000"/>
            </a:lvl6pPr>
            <a:lvl7pPr marL="2944002" indent="0">
              <a:buNone/>
              <a:defRPr sz="1000"/>
            </a:lvl7pPr>
            <a:lvl8pPr marL="3434669" indent="0">
              <a:buNone/>
              <a:defRPr sz="1000"/>
            </a:lvl8pPr>
            <a:lvl9pPr marL="3925336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CD6D35-C0D3-4E45-86DF-1AC9920CFD18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4/06/2014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7008A-1C09-4B3B-A1F3-2270F49432F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1204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3709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CD6D35-C0D3-4E45-86DF-1AC9920CFD18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4/06/2014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7008A-1C09-4B3B-A1F3-2270F49432F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0184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054096" y="298097"/>
            <a:ext cx="2189202" cy="6351343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86489" y="298097"/>
            <a:ext cx="6405444" cy="6351343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CD6D35-C0D3-4E45-86DF-1AC9920CFD18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4/06/2014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27008A-1C09-4B3B-A1F3-2270F49432F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4724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291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6622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9326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59663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8119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91135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586" y="4783343"/>
            <a:ext cx="8270320" cy="1478419"/>
          </a:xfrm>
        </p:spPr>
        <p:txBody>
          <a:bodyPr anchor="t"/>
          <a:lstStyle>
            <a:lvl1pPr algn="l">
              <a:defRPr sz="43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586" y="3154996"/>
            <a:ext cx="8270320" cy="1628328"/>
          </a:xfrm>
        </p:spPr>
        <p:txBody>
          <a:bodyPr anchor="b"/>
          <a:lstStyle>
            <a:lvl1pPr marL="0" indent="0">
              <a:buNone/>
              <a:defRPr sz="2100"/>
            </a:lvl1pPr>
            <a:lvl2pPr marL="490667" indent="0">
              <a:buNone/>
              <a:defRPr sz="1900"/>
            </a:lvl2pPr>
            <a:lvl3pPr marL="981334" indent="0">
              <a:buNone/>
              <a:defRPr sz="1700"/>
            </a:lvl3pPr>
            <a:lvl4pPr marL="1472001" indent="0">
              <a:buNone/>
              <a:defRPr sz="1500"/>
            </a:lvl4pPr>
            <a:lvl5pPr marL="1962668" indent="0">
              <a:buNone/>
              <a:defRPr sz="1500"/>
            </a:lvl5pPr>
            <a:lvl6pPr marL="2453335" indent="0">
              <a:buNone/>
              <a:defRPr sz="1500"/>
            </a:lvl6pPr>
            <a:lvl7pPr marL="2944002" indent="0">
              <a:buNone/>
              <a:defRPr sz="1500"/>
            </a:lvl7pPr>
            <a:lvl8pPr marL="3434669" indent="0">
              <a:buNone/>
              <a:defRPr sz="1500"/>
            </a:lvl8pPr>
            <a:lvl9pPr marL="3925336" indent="0"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15516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5639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4077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47498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8257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63595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28931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1764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14987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57024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4108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0611" y="1299218"/>
            <a:ext cx="4329417" cy="500215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2192" y="1299218"/>
            <a:ext cx="4331107" cy="500215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0997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49607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34021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565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19907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873599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037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90674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92111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7723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14670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207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31744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6271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43254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498169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4279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5495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743172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0521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6869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60024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03521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816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7490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3286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4738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0688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668800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7573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07798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547793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8949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 hasCustomPrompt="1"/>
          </p:nvPr>
        </p:nvSpPr>
        <p:spPr>
          <a:xfrm>
            <a:off x="2413867" y="377359"/>
            <a:ext cx="6895312" cy="53071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20611" y="1299219"/>
            <a:ext cx="4329417" cy="24175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12192" y="1299219"/>
            <a:ext cx="4331107" cy="241750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20611" y="3882143"/>
            <a:ext cx="4329417" cy="241923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12192" y="3882143"/>
            <a:ext cx="4331107" cy="241923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50251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78522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90712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794118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67993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0498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88810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812142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9976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918487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54526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7" descr="pp__divider_pag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4125" y="248127"/>
            <a:ext cx="9359853" cy="6947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837855" y="542777"/>
            <a:ext cx="6648688" cy="57896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749557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7446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96094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633510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5735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262831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742826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4259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084189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45253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1638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618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78029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552399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163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8310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908339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4497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0551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395414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495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400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6.xml"/><Relationship Id="rId117" Type="http://schemas.openxmlformats.org/officeDocument/2006/relationships/slideLayout" Target="../slideLayouts/slideLayout127.xml"/><Relationship Id="rId21" Type="http://schemas.openxmlformats.org/officeDocument/2006/relationships/slideLayout" Target="../slideLayouts/slideLayout31.xml"/><Relationship Id="rId42" Type="http://schemas.openxmlformats.org/officeDocument/2006/relationships/slideLayout" Target="../slideLayouts/slideLayout52.xml"/><Relationship Id="rId47" Type="http://schemas.openxmlformats.org/officeDocument/2006/relationships/slideLayout" Target="../slideLayouts/slideLayout57.xml"/><Relationship Id="rId63" Type="http://schemas.openxmlformats.org/officeDocument/2006/relationships/slideLayout" Target="../slideLayouts/slideLayout73.xml"/><Relationship Id="rId68" Type="http://schemas.openxmlformats.org/officeDocument/2006/relationships/slideLayout" Target="../slideLayouts/slideLayout78.xml"/><Relationship Id="rId84" Type="http://schemas.openxmlformats.org/officeDocument/2006/relationships/slideLayout" Target="../slideLayouts/slideLayout94.xml"/><Relationship Id="rId89" Type="http://schemas.openxmlformats.org/officeDocument/2006/relationships/slideLayout" Target="../slideLayouts/slideLayout99.xml"/><Relationship Id="rId11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26.xml"/><Relationship Id="rId107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21.xml"/><Relationship Id="rId32" Type="http://schemas.openxmlformats.org/officeDocument/2006/relationships/slideLayout" Target="../slideLayouts/slideLayout42.xml"/><Relationship Id="rId37" Type="http://schemas.openxmlformats.org/officeDocument/2006/relationships/slideLayout" Target="../slideLayouts/slideLayout47.xml"/><Relationship Id="rId53" Type="http://schemas.openxmlformats.org/officeDocument/2006/relationships/slideLayout" Target="../slideLayouts/slideLayout63.xml"/><Relationship Id="rId58" Type="http://schemas.openxmlformats.org/officeDocument/2006/relationships/slideLayout" Target="../slideLayouts/slideLayout68.xml"/><Relationship Id="rId74" Type="http://schemas.openxmlformats.org/officeDocument/2006/relationships/slideLayout" Target="../slideLayouts/slideLayout84.xml"/><Relationship Id="rId79" Type="http://schemas.openxmlformats.org/officeDocument/2006/relationships/slideLayout" Target="../slideLayouts/slideLayout89.xml"/><Relationship Id="rId102" Type="http://schemas.openxmlformats.org/officeDocument/2006/relationships/slideLayout" Target="../slideLayouts/slideLayout112.xml"/><Relationship Id="rId123" Type="http://schemas.openxmlformats.org/officeDocument/2006/relationships/slideLayout" Target="../slideLayouts/slideLayout133.xml"/><Relationship Id="rId128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90" Type="http://schemas.openxmlformats.org/officeDocument/2006/relationships/slideLayout" Target="../slideLayouts/slideLayout100.xml"/><Relationship Id="rId95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slideLayout" Target="../slideLayouts/slideLayout40.xml"/><Relationship Id="rId35" Type="http://schemas.openxmlformats.org/officeDocument/2006/relationships/slideLayout" Target="../slideLayouts/slideLayout45.xml"/><Relationship Id="rId43" Type="http://schemas.openxmlformats.org/officeDocument/2006/relationships/slideLayout" Target="../slideLayouts/slideLayout53.xml"/><Relationship Id="rId48" Type="http://schemas.openxmlformats.org/officeDocument/2006/relationships/slideLayout" Target="../slideLayouts/slideLayout58.xml"/><Relationship Id="rId56" Type="http://schemas.openxmlformats.org/officeDocument/2006/relationships/slideLayout" Target="../slideLayouts/slideLayout66.xml"/><Relationship Id="rId64" Type="http://schemas.openxmlformats.org/officeDocument/2006/relationships/slideLayout" Target="../slideLayouts/slideLayout74.xml"/><Relationship Id="rId69" Type="http://schemas.openxmlformats.org/officeDocument/2006/relationships/slideLayout" Target="../slideLayouts/slideLayout79.xml"/><Relationship Id="rId77" Type="http://schemas.openxmlformats.org/officeDocument/2006/relationships/slideLayout" Target="../slideLayouts/slideLayout87.xml"/><Relationship Id="rId100" Type="http://schemas.openxmlformats.org/officeDocument/2006/relationships/slideLayout" Target="../slideLayouts/slideLayout110.xml"/><Relationship Id="rId105" Type="http://schemas.openxmlformats.org/officeDocument/2006/relationships/slideLayout" Target="../slideLayouts/slideLayout115.xml"/><Relationship Id="rId113" Type="http://schemas.openxmlformats.org/officeDocument/2006/relationships/slideLayout" Target="../slideLayouts/slideLayout123.xml"/><Relationship Id="rId118" Type="http://schemas.openxmlformats.org/officeDocument/2006/relationships/slideLayout" Target="../slideLayouts/slideLayout128.xml"/><Relationship Id="rId126" Type="http://schemas.openxmlformats.org/officeDocument/2006/relationships/slideLayout" Target="../slideLayouts/slideLayout136.xml"/><Relationship Id="rId8" Type="http://schemas.openxmlformats.org/officeDocument/2006/relationships/slideLayout" Target="../slideLayouts/slideLayout18.xml"/><Relationship Id="rId51" Type="http://schemas.openxmlformats.org/officeDocument/2006/relationships/slideLayout" Target="../slideLayouts/slideLayout61.xml"/><Relationship Id="rId72" Type="http://schemas.openxmlformats.org/officeDocument/2006/relationships/slideLayout" Target="../slideLayouts/slideLayout82.xml"/><Relationship Id="rId80" Type="http://schemas.openxmlformats.org/officeDocument/2006/relationships/slideLayout" Target="../slideLayouts/slideLayout90.xml"/><Relationship Id="rId85" Type="http://schemas.openxmlformats.org/officeDocument/2006/relationships/slideLayout" Target="../slideLayouts/slideLayout95.xml"/><Relationship Id="rId93" Type="http://schemas.openxmlformats.org/officeDocument/2006/relationships/slideLayout" Target="../slideLayouts/slideLayout103.xml"/><Relationship Id="rId98" Type="http://schemas.openxmlformats.org/officeDocument/2006/relationships/slideLayout" Target="../slideLayouts/slideLayout108.xml"/><Relationship Id="rId121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33" Type="http://schemas.openxmlformats.org/officeDocument/2006/relationships/slideLayout" Target="../slideLayouts/slideLayout43.xml"/><Relationship Id="rId38" Type="http://schemas.openxmlformats.org/officeDocument/2006/relationships/slideLayout" Target="../slideLayouts/slideLayout48.xml"/><Relationship Id="rId46" Type="http://schemas.openxmlformats.org/officeDocument/2006/relationships/slideLayout" Target="../slideLayouts/slideLayout56.xml"/><Relationship Id="rId59" Type="http://schemas.openxmlformats.org/officeDocument/2006/relationships/slideLayout" Target="../slideLayouts/slideLayout69.xml"/><Relationship Id="rId67" Type="http://schemas.openxmlformats.org/officeDocument/2006/relationships/slideLayout" Target="../slideLayouts/slideLayout77.xml"/><Relationship Id="rId103" Type="http://schemas.openxmlformats.org/officeDocument/2006/relationships/slideLayout" Target="../slideLayouts/slideLayout113.xml"/><Relationship Id="rId108" Type="http://schemas.openxmlformats.org/officeDocument/2006/relationships/slideLayout" Target="../slideLayouts/slideLayout118.xml"/><Relationship Id="rId116" Type="http://schemas.openxmlformats.org/officeDocument/2006/relationships/slideLayout" Target="../slideLayouts/slideLayout126.xml"/><Relationship Id="rId124" Type="http://schemas.openxmlformats.org/officeDocument/2006/relationships/slideLayout" Target="../slideLayouts/slideLayout134.xml"/><Relationship Id="rId129" Type="http://schemas.openxmlformats.org/officeDocument/2006/relationships/customXml" Target="../../customXml/item2.xml"/><Relationship Id="rId20" Type="http://schemas.openxmlformats.org/officeDocument/2006/relationships/slideLayout" Target="../slideLayouts/slideLayout30.xml"/><Relationship Id="rId41" Type="http://schemas.openxmlformats.org/officeDocument/2006/relationships/slideLayout" Target="../slideLayouts/slideLayout51.xml"/><Relationship Id="rId54" Type="http://schemas.openxmlformats.org/officeDocument/2006/relationships/slideLayout" Target="../slideLayouts/slideLayout64.xml"/><Relationship Id="rId62" Type="http://schemas.openxmlformats.org/officeDocument/2006/relationships/slideLayout" Target="../slideLayouts/slideLayout72.xml"/><Relationship Id="rId70" Type="http://schemas.openxmlformats.org/officeDocument/2006/relationships/slideLayout" Target="../slideLayouts/slideLayout80.xml"/><Relationship Id="rId75" Type="http://schemas.openxmlformats.org/officeDocument/2006/relationships/slideLayout" Target="../slideLayouts/slideLayout85.xml"/><Relationship Id="rId83" Type="http://schemas.openxmlformats.org/officeDocument/2006/relationships/slideLayout" Target="../slideLayouts/slideLayout93.xml"/><Relationship Id="rId88" Type="http://schemas.openxmlformats.org/officeDocument/2006/relationships/slideLayout" Target="../slideLayouts/slideLayout98.xml"/><Relationship Id="rId91" Type="http://schemas.openxmlformats.org/officeDocument/2006/relationships/slideLayout" Target="../slideLayouts/slideLayout101.xml"/><Relationship Id="rId96" Type="http://schemas.openxmlformats.org/officeDocument/2006/relationships/slideLayout" Target="../slideLayouts/slideLayout106.xml"/><Relationship Id="rId111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36" Type="http://schemas.openxmlformats.org/officeDocument/2006/relationships/slideLayout" Target="../slideLayouts/slideLayout46.xml"/><Relationship Id="rId49" Type="http://schemas.openxmlformats.org/officeDocument/2006/relationships/slideLayout" Target="../slideLayouts/slideLayout59.xml"/><Relationship Id="rId57" Type="http://schemas.openxmlformats.org/officeDocument/2006/relationships/slideLayout" Target="../slideLayouts/slideLayout67.xml"/><Relationship Id="rId106" Type="http://schemas.openxmlformats.org/officeDocument/2006/relationships/slideLayout" Target="../slideLayouts/slideLayout116.xml"/><Relationship Id="rId114" Type="http://schemas.openxmlformats.org/officeDocument/2006/relationships/slideLayout" Target="../slideLayouts/slideLayout124.xml"/><Relationship Id="rId119" Type="http://schemas.openxmlformats.org/officeDocument/2006/relationships/slideLayout" Target="../slideLayouts/slideLayout129.xml"/><Relationship Id="rId127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20.xml"/><Relationship Id="rId31" Type="http://schemas.openxmlformats.org/officeDocument/2006/relationships/slideLayout" Target="../slideLayouts/slideLayout41.xml"/><Relationship Id="rId44" Type="http://schemas.openxmlformats.org/officeDocument/2006/relationships/slideLayout" Target="../slideLayouts/slideLayout54.xml"/><Relationship Id="rId52" Type="http://schemas.openxmlformats.org/officeDocument/2006/relationships/slideLayout" Target="../slideLayouts/slideLayout62.xml"/><Relationship Id="rId60" Type="http://schemas.openxmlformats.org/officeDocument/2006/relationships/slideLayout" Target="../slideLayouts/slideLayout70.xml"/><Relationship Id="rId65" Type="http://schemas.openxmlformats.org/officeDocument/2006/relationships/slideLayout" Target="../slideLayouts/slideLayout75.xml"/><Relationship Id="rId73" Type="http://schemas.openxmlformats.org/officeDocument/2006/relationships/slideLayout" Target="../slideLayouts/slideLayout83.xml"/><Relationship Id="rId78" Type="http://schemas.openxmlformats.org/officeDocument/2006/relationships/slideLayout" Target="../slideLayouts/slideLayout88.xml"/><Relationship Id="rId81" Type="http://schemas.openxmlformats.org/officeDocument/2006/relationships/slideLayout" Target="../slideLayouts/slideLayout91.xml"/><Relationship Id="rId86" Type="http://schemas.openxmlformats.org/officeDocument/2006/relationships/slideLayout" Target="../slideLayouts/slideLayout96.xml"/><Relationship Id="rId94" Type="http://schemas.openxmlformats.org/officeDocument/2006/relationships/slideLayout" Target="../slideLayouts/slideLayout104.xml"/><Relationship Id="rId99" Type="http://schemas.openxmlformats.org/officeDocument/2006/relationships/slideLayout" Target="../slideLayouts/slideLayout109.xml"/><Relationship Id="rId101" Type="http://schemas.openxmlformats.org/officeDocument/2006/relationships/slideLayout" Target="../slideLayouts/slideLayout111.xml"/><Relationship Id="rId122" Type="http://schemas.openxmlformats.org/officeDocument/2006/relationships/slideLayout" Target="../slideLayouts/slideLayout132.xml"/><Relationship Id="rId130" Type="http://schemas.openxmlformats.org/officeDocument/2006/relationships/customXml" Target="../../customXml/item5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39" Type="http://schemas.openxmlformats.org/officeDocument/2006/relationships/slideLayout" Target="../slideLayouts/slideLayout49.xml"/><Relationship Id="rId109" Type="http://schemas.openxmlformats.org/officeDocument/2006/relationships/slideLayout" Target="../slideLayouts/slideLayout119.xml"/><Relationship Id="rId34" Type="http://schemas.openxmlformats.org/officeDocument/2006/relationships/slideLayout" Target="../slideLayouts/slideLayout44.xml"/><Relationship Id="rId50" Type="http://schemas.openxmlformats.org/officeDocument/2006/relationships/slideLayout" Target="../slideLayouts/slideLayout60.xml"/><Relationship Id="rId55" Type="http://schemas.openxmlformats.org/officeDocument/2006/relationships/slideLayout" Target="../slideLayouts/slideLayout65.xml"/><Relationship Id="rId76" Type="http://schemas.openxmlformats.org/officeDocument/2006/relationships/slideLayout" Target="../slideLayouts/slideLayout86.xml"/><Relationship Id="rId97" Type="http://schemas.openxmlformats.org/officeDocument/2006/relationships/slideLayout" Target="../slideLayouts/slideLayout107.xml"/><Relationship Id="rId104" Type="http://schemas.openxmlformats.org/officeDocument/2006/relationships/slideLayout" Target="../slideLayouts/slideLayout114.xml"/><Relationship Id="rId120" Type="http://schemas.openxmlformats.org/officeDocument/2006/relationships/slideLayout" Target="../slideLayouts/slideLayout130.xml"/><Relationship Id="rId125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7.xml"/><Relationship Id="rId71" Type="http://schemas.openxmlformats.org/officeDocument/2006/relationships/slideLayout" Target="../slideLayouts/slideLayout81.xml"/><Relationship Id="rId92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12.xml"/><Relationship Id="rId29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34.xml"/><Relationship Id="rId40" Type="http://schemas.openxmlformats.org/officeDocument/2006/relationships/slideLayout" Target="../slideLayouts/slideLayout50.xml"/><Relationship Id="rId45" Type="http://schemas.openxmlformats.org/officeDocument/2006/relationships/slideLayout" Target="../slideLayouts/slideLayout55.xml"/><Relationship Id="rId66" Type="http://schemas.openxmlformats.org/officeDocument/2006/relationships/slideLayout" Target="../slideLayouts/slideLayout76.xml"/><Relationship Id="rId87" Type="http://schemas.openxmlformats.org/officeDocument/2006/relationships/slideLayout" Target="../slideLayouts/slideLayout97.xml"/><Relationship Id="rId110" Type="http://schemas.openxmlformats.org/officeDocument/2006/relationships/slideLayout" Target="../slideLayouts/slideLayout120.xml"/><Relationship Id="rId115" Type="http://schemas.openxmlformats.org/officeDocument/2006/relationships/slideLayout" Target="../slideLayouts/slideLayout125.xml"/><Relationship Id="rId131" Type="http://schemas.openxmlformats.org/officeDocument/2006/relationships/tags" Target="../tags/tag2.xml"/><Relationship Id="rId61" Type="http://schemas.openxmlformats.org/officeDocument/2006/relationships/slideLayout" Target="../slideLayouts/slideLayout71.xml"/><Relationship Id="rId82" Type="http://schemas.openxmlformats.org/officeDocument/2006/relationships/slideLayout" Target="../slideLayouts/slideLayout9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40.xml"/><Relationship Id="rId7" Type="http://schemas.openxmlformats.org/officeDocument/2006/relationships/customXml" Target="../../customXml/item1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customXml" Target="../../customXml/item6.xml"/><Relationship Id="rId11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10" Type="http://schemas.openxmlformats.org/officeDocument/2006/relationships/tags" Target="../tags/tag5.xml"/><Relationship Id="rId4" Type="http://schemas.openxmlformats.org/officeDocument/2006/relationships/theme" Target="../theme/theme3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413867" y="377359"/>
            <a:ext cx="6895312" cy="530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133" tIns="49067" rIns="98133" bIns="490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fr-BE" dirty="0" smtClean="0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4391" y="1299218"/>
            <a:ext cx="9424385" cy="5002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133" tIns="49067" rIns="98133" bIns="490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 dirty="0" smtClean="0"/>
          </a:p>
        </p:txBody>
      </p:sp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0" y="7152585"/>
            <a:ext cx="9729788" cy="2912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9274" tIns="44637" rIns="89274" bIns="44637">
            <a:spAutoFit/>
          </a:bodyPr>
          <a:lstStyle/>
          <a:p>
            <a:pPr marL="177185" indent="-177185" algn="ctr" defTabSz="89274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BE" sz="1300" i="1" dirty="0" err="1">
                <a:solidFill>
                  <a:srgbClr val="808080"/>
                </a:solidFill>
                <a:cs typeface="Arial" pitchFamily="34" charset="0"/>
              </a:rPr>
              <a:t>Confidential</a:t>
            </a:r>
            <a:r>
              <a:rPr lang="fr-BE" sz="1300" i="1" dirty="0">
                <a:solidFill>
                  <a:srgbClr val="808080"/>
                </a:solidFill>
                <a:cs typeface="Arial" pitchFamily="34" charset="0"/>
              </a:rPr>
              <a:t> Information - </a:t>
            </a:r>
            <a:r>
              <a:rPr lang="fr-BE" sz="1300" i="1" dirty="0" smtClean="0">
                <a:solidFill>
                  <a:srgbClr val="808080"/>
                </a:solidFill>
                <a:cs typeface="Arial" pitchFamily="34" charset="0"/>
              </a:rPr>
              <a:t>Mars </a:t>
            </a:r>
            <a:r>
              <a:rPr lang="fr-BE" sz="1300" i="1" dirty="0" err="1" smtClean="0">
                <a:solidFill>
                  <a:srgbClr val="808080"/>
                </a:solidFill>
                <a:cs typeface="Arial" pitchFamily="34" charset="0"/>
              </a:rPr>
              <a:t>Incorporated</a:t>
            </a:r>
            <a:endParaRPr lang="en-GB" sz="1300" i="1" dirty="0">
              <a:solidFill>
                <a:srgbClr val="808080"/>
              </a:solidFill>
              <a:cs typeface="Arial" pitchFamily="34" charset="0"/>
            </a:endParaRPr>
          </a:p>
        </p:txBody>
      </p:sp>
      <p:pic>
        <p:nvPicPr>
          <p:cNvPr id="7" name="Picture 5" descr="MARS logo lockup_mediumsize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14392" y="361071"/>
            <a:ext cx="2159750" cy="720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8438672" y="6848241"/>
            <a:ext cx="946862" cy="49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130" tIns="49065" rIns="98130" bIns="49065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E8317DC4-10D8-4D93-9BA5-999217A68B3A}" type="slidenum">
              <a:rPr lang="en-US" sz="1700">
                <a:solidFill>
                  <a:srgbClr val="005595"/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700" dirty="0">
              <a:solidFill>
                <a:srgbClr val="005595"/>
              </a:solidFill>
            </a:endParaRPr>
          </a:p>
        </p:txBody>
      </p:sp>
      <p:sp>
        <p:nvSpPr>
          <p:cNvPr id="2" name="CreatedFooter"/>
          <p:cNvSpPr txBox="1"/>
          <p:nvPr userDrawn="1"/>
        </p:nvSpPr>
        <p:spPr>
          <a:xfrm>
            <a:off x="5792672" y="7334121"/>
            <a:ext cx="570028" cy="92333"/>
          </a:xfrm>
          <a:prstGeom prst="rect">
            <a:avLst/>
          </a:prstGeom>
          <a:noFill/>
        </p:spPr>
        <p:txBody>
          <a:bodyPr vert="horz" wrap="none" tIns="0" rIns="0" bIns="0" rtlCol="0" anchor="ctr">
            <a:spAutoFit/>
          </a:bodyPr>
          <a:lstStyle/>
          <a:p>
            <a:pPr algn="r"/>
            <a:r>
              <a:rPr lang="fr-BE" sz="600" b="0" i="0" u="none" dirty="0" smtClean="0">
                <a:latin typeface="Verdana"/>
              </a:rPr>
              <a:t>NSM A4A(2)</a:t>
            </a:r>
          </a:p>
        </p:txBody>
      </p:sp>
    </p:spTree>
    <p:extLst>
      <p:ext uri="{BB962C8B-B14F-4D97-AF65-F5344CB8AC3E}">
        <p14:creationId xmlns:p14="http://schemas.microsoft.com/office/powerpoint/2010/main" val="980990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6393"/>
          </a:solidFill>
          <a:latin typeface="Calibri" pitchFamily="34" charset="0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2"/>
          </a:solidFill>
          <a:latin typeface="Calibri" pitchFamily="34" charset="0"/>
          <a:cs typeface="Arial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2"/>
          </a:solidFill>
          <a:latin typeface="Calibri" pitchFamily="34" charset="0"/>
          <a:cs typeface="Arial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2"/>
          </a:solidFill>
          <a:latin typeface="Calibri" pitchFamily="34" charset="0"/>
          <a:cs typeface="Arial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2"/>
          </a:solidFill>
          <a:latin typeface="Calibri" pitchFamily="34" charset="0"/>
          <a:cs typeface="Arial" pitchFamily="34" charset="0"/>
        </a:defRPr>
      </a:lvl5pPr>
      <a:lvl6pPr marL="490667" algn="r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2"/>
          </a:solidFill>
          <a:latin typeface="Marsfont" pitchFamily="2" charset="0"/>
          <a:cs typeface="Arial" pitchFamily="34" charset="0"/>
        </a:defRPr>
      </a:lvl6pPr>
      <a:lvl7pPr marL="981334" algn="r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2"/>
          </a:solidFill>
          <a:latin typeface="Marsfont" pitchFamily="2" charset="0"/>
          <a:cs typeface="Arial" pitchFamily="34" charset="0"/>
        </a:defRPr>
      </a:lvl7pPr>
      <a:lvl8pPr marL="1472001" algn="r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2"/>
          </a:solidFill>
          <a:latin typeface="Marsfont" pitchFamily="2" charset="0"/>
          <a:cs typeface="Arial" pitchFamily="34" charset="0"/>
        </a:defRPr>
      </a:lvl8pPr>
      <a:lvl9pPr marL="1962668" algn="r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accent2"/>
          </a:solidFill>
          <a:latin typeface="Marsfont" pitchFamily="2" charset="0"/>
          <a:cs typeface="Arial" pitchFamily="34" charset="0"/>
        </a:defRPr>
      </a:lvl9pPr>
    </p:titleStyle>
    <p:bodyStyle>
      <a:lvl1pPr marL="368000" indent="-368000" algn="l" rtl="0" eaLnBrk="1" fontAlgn="base" hangingPunct="1">
        <a:spcBef>
          <a:spcPct val="20000"/>
        </a:spcBef>
        <a:spcAft>
          <a:spcPct val="0"/>
        </a:spcAft>
        <a:buChar char="-"/>
        <a:defRPr sz="2600">
          <a:solidFill>
            <a:srgbClr val="006393"/>
          </a:solidFill>
          <a:latin typeface="Calibri" pitchFamily="34" charset="0"/>
          <a:ea typeface="+mn-ea"/>
          <a:cs typeface="+mn-cs"/>
        </a:defRPr>
      </a:lvl1pPr>
      <a:lvl2pPr marL="797334" indent="-306667" algn="l" rtl="0" eaLnBrk="1" fontAlgn="base" hangingPunct="1">
        <a:spcBef>
          <a:spcPct val="20000"/>
        </a:spcBef>
        <a:spcAft>
          <a:spcPct val="0"/>
        </a:spcAft>
        <a:buChar char="–"/>
        <a:defRPr sz="2100">
          <a:solidFill>
            <a:srgbClr val="006393"/>
          </a:solidFill>
          <a:latin typeface="Calibri" pitchFamily="34" charset="0"/>
          <a:cs typeface="+mn-cs"/>
        </a:defRPr>
      </a:lvl2pPr>
      <a:lvl3pPr marL="1226668" indent="-245334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rgbClr val="006393"/>
          </a:solidFill>
          <a:latin typeface="Calibri" pitchFamily="34" charset="0"/>
          <a:cs typeface="+mn-cs"/>
        </a:defRPr>
      </a:lvl3pPr>
      <a:lvl4pPr marL="1717335" indent="-245334" algn="l" rtl="0" eaLnBrk="1" fontAlgn="base" hangingPunct="1">
        <a:spcBef>
          <a:spcPct val="20000"/>
        </a:spcBef>
        <a:spcAft>
          <a:spcPct val="0"/>
        </a:spcAft>
        <a:buChar char="–"/>
        <a:defRPr sz="1700">
          <a:solidFill>
            <a:srgbClr val="006393"/>
          </a:solidFill>
          <a:latin typeface="Calibri" pitchFamily="34" charset="0"/>
          <a:cs typeface="+mn-cs"/>
        </a:defRPr>
      </a:lvl4pPr>
      <a:lvl5pPr marL="2208002" indent="-245334" algn="l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rgbClr val="006393"/>
          </a:solidFill>
          <a:latin typeface="Calibri" pitchFamily="34" charset="0"/>
          <a:cs typeface="+mn-cs"/>
        </a:defRPr>
      </a:lvl5pPr>
      <a:lvl6pPr marL="2698669" indent="-245334" algn="l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chemeClr val="accent2"/>
          </a:solidFill>
          <a:latin typeface="+mn-lt"/>
          <a:cs typeface="+mn-cs"/>
        </a:defRPr>
      </a:lvl6pPr>
      <a:lvl7pPr marL="3189336" indent="-245334" algn="l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chemeClr val="accent2"/>
          </a:solidFill>
          <a:latin typeface="+mn-lt"/>
          <a:cs typeface="+mn-cs"/>
        </a:defRPr>
      </a:lvl7pPr>
      <a:lvl8pPr marL="3680003" indent="-245334" algn="l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chemeClr val="accent2"/>
          </a:solidFill>
          <a:latin typeface="+mn-lt"/>
          <a:cs typeface="+mn-cs"/>
        </a:defRPr>
      </a:lvl8pPr>
      <a:lvl9pPr marL="4170670" indent="-245334" algn="l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chemeClr val="accent2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86490" y="298097"/>
            <a:ext cx="8756809" cy="1240631"/>
          </a:xfrm>
          <a:prstGeom prst="rect">
            <a:avLst/>
          </a:prstGeom>
        </p:spPr>
        <p:txBody>
          <a:bodyPr vert="horz" lIns="98133" tIns="49067" rIns="98133" bIns="49067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86490" y="1736884"/>
            <a:ext cx="8756809" cy="4912556"/>
          </a:xfrm>
          <a:prstGeom prst="rect">
            <a:avLst/>
          </a:prstGeom>
        </p:spPr>
        <p:txBody>
          <a:bodyPr vert="horz" lIns="98133" tIns="49067" rIns="98133" bIns="49067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86489" y="6899289"/>
            <a:ext cx="2270284" cy="396313"/>
          </a:xfrm>
          <a:prstGeom prst="rect">
            <a:avLst/>
          </a:prstGeom>
        </p:spPr>
        <p:txBody>
          <a:bodyPr vert="horz" lIns="98133" tIns="49067" rIns="98133" bIns="49067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81334"/>
            <a:fld id="{68CD6D35-C0D3-4E45-86DF-1AC9920CFD18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 defTabSz="981334"/>
              <a:t>4/06/2014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324344" y="6899289"/>
            <a:ext cx="3081100" cy="396313"/>
          </a:xfrm>
          <a:prstGeom prst="rect">
            <a:avLst/>
          </a:prstGeom>
        </p:spPr>
        <p:txBody>
          <a:bodyPr vert="horz" lIns="98133" tIns="49067" rIns="98133" bIns="49067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81334"/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973015" y="6899289"/>
            <a:ext cx="2270284" cy="396313"/>
          </a:xfrm>
          <a:prstGeom prst="rect">
            <a:avLst/>
          </a:prstGeom>
        </p:spPr>
        <p:txBody>
          <a:bodyPr vert="horz" lIns="98133" tIns="49067" rIns="98133" bIns="49067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81334"/>
            <a:fld id="{F127008A-1C09-4B3B-A1F3-2270F49432F7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 defTabSz="981334"/>
              <a:t>‹#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CreatedFooter"/>
          <p:cNvSpPr txBox="1"/>
          <p:nvPr userDrawn="1"/>
        </p:nvSpPr>
        <p:spPr>
          <a:xfrm>
            <a:off x="5792672" y="7334121"/>
            <a:ext cx="570028" cy="92333"/>
          </a:xfrm>
          <a:prstGeom prst="rect">
            <a:avLst/>
          </a:prstGeom>
          <a:noFill/>
        </p:spPr>
        <p:txBody>
          <a:bodyPr vert="horz" wrap="none" tIns="0" rIns="0" bIns="0" rtlCol="0" anchor="ctr">
            <a:spAutoFit/>
          </a:bodyPr>
          <a:lstStyle/>
          <a:p>
            <a:pPr algn="r"/>
            <a:r>
              <a:rPr lang="fr-BE" sz="600" dirty="0" smtClean="0">
                <a:solidFill>
                  <a:prstClr val="black"/>
                </a:solidFill>
                <a:latin typeface="Verdana"/>
              </a:rPr>
              <a:t>NSM A4A(2)</a:t>
            </a:r>
            <a:endParaRPr lang="fr-BE" sz="60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0" name="OfficeCode"/>
          <p:cNvSpPr txBox="1"/>
          <p:nvPr userDrawn="1">
            <p:custDataLst>
              <p:tags r:id="rId131"/>
            </p:custDataLst>
          </p:nvPr>
        </p:nvSpPr>
        <p:spPr>
          <a:xfrm>
            <a:off x="5448926" y="7334121"/>
            <a:ext cx="259045" cy="92333"/>
          </a:xfrm>
          <a:prstGeom prst="rect">
            <a:avLst/>
          </a:prstGeom>
          <a:noFill/>
        </p:spPr>
        <p:txBody>
          <a:bodyPr vert="horz" wrap="none" tIns="0" rIns="0" bIns="0" rtlCol="0" anchor="ctr">
            <a:spAutoFit/>
          </a:bodyPr>
          <a:lstStyle/>
          <a:p>
            <a:r>
              <a:rPr lang="fr-BE" sz="600" dirty="0" smtClean="0">
                <a:solidFill>
                  <a:prstClr val="black"/>
                </a:solidFill>
                <a:latin typeface="Verdana"/>
              </a:rPr>
              <a:t>BOS</a:t>
            </a:r>
            <a:endParaRPr lang="fr-BE" sz="600" dirty="0">
              <a:solidFill>
                <a:prstClr val="black"/>
              </a:solidFill>
              <a:latin typeface="Verdana"/>
            </a:endParaRPr>
          </a:p>
        </p:txBody>
      </p:sp>
    </p:spTree>
    <p:custDataLst>
      <p:custData r:id="rId129"/>
      <p:custData r:id="rId130"/>
    </p:custDataLst>
    <p:extLst>
      <p:ext uri="{BB962C8B-B14F-4D97-AF65-F5344CB8AC3E}">
        <p14:creationId xmlns:p14="http://schemas.microsoft.com/office/powerpoint/2010/main" val="1223096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  <p:sldLayoutId id="2147484098" r:id="rId12"/>
    <p:sldLayoutId id="2147483662" r:id="rId13"/>
    <p:sldLayoutId id="2147484099" r:id="rId14"/>
    <p:sldLayoutId id="2147484059" r:id="rId15"/>
    <p:sldLayoutId id="2147484061" r:id="rId16"/>
    <p:sldLayoutId id="2147484062" r:id="rId17"/>
    <p:sldLayoutId id="2147484063" r:id="rId18"/>
    <p:sldLayoutId id="2147484064" r:id="rId19"/>
    <p:sldLayoutId id="2147484065" r:id="rId20"/>
    <p:sldLayoutId id="2147484066" r:id="rId21"/>
    <p:sldLayoutId id="2147484067" r:id="rId22"/>
    <p:sldLayoutId id="2147484068" r:id="rId23"/>
    <p:sldLayoutId id="2147484069" r:id="rId24"/>
    <p:sldLayoutId id="2147484070" r:id="rId25"/>
    <p:sldLayoutId id="2147484071" r:id="rId26"/>
    <p:sldLayoutId id="2147484072" r:id="rId27"/>
    <p:sldLayoutId id="2147484073" r:id="rId28"/>
    <p:sldLayoutId id="2147484074" r:id="rId29"/>
    <p:sldLayoutId id="2147484075" r:id="rId30"/>
    <p:sldLayoutId id="2147484076" r:id="rId31"/>
    <p:sldLayoutId id="2147484077" r:id="rId32"/>
    <p:sldLayoutId id="2147484078" r:id="rId33"/>
    <p:sldLayoutId id="2147484079" r:id="rId34"/>
    <p:sldLayoutId id="2147484080" r:id="rId35"/>
    <p:sldLayoutId id="2147484081" r:id="rId36"/>
    <p:sldLayoutId id="2147484082" r:id="rId37"/>
    <p:sldLayoutId id="2147484083" r:id="rId38"/>
    <p:sldLayoutId id="2147484084" r:id="rId39"/>
    <p:sldLayoutId id="2147484085" r:id="rId40"/>
    <p:sldLayoutId id="2147484086" r:id="rId41"/>
    <p:sldLayoutId id="2147484087" r:id="rId42"/>
    <p:sldLayoutId id="2147484088" r:id="rId43"/>
    <p:sldLayoutId id="2147484089" r:id="rId44"/>
    <p:sldLayoutId id="2147484090" r:id="rId45"/>
    <p:sldLayoutId id="2147484091" r:id="rId46"/>
    <p:sldLayoutId id="2147484092" r:id="rId47"/>
    <p:sldLayoutId id="2147484093" r:id="rId48"/>
    <p:sldLayoutId id="2147484094" r:id="rId49"/>
    <p:sldLayoutId id="2147484095" r:id="rId50"/>
    <p:sldLayoutId id="2147484096" r:id="rId51"/>
    <p:sldLayoutId id="2147483813" r:id="rId52"/>
    <p:sldLayoutId id="2147483814" r:id="rId53"/>
    <p:sldLayoutId id="2147483818" r:id="rId54"/>
    <p:sldLayoutId id="2147483819" r:id="rId55"/>
    <p:sldLayoutId id="2147483820" r:id="rId56"/>
    <p:sldLayoutId id="2147483821" r:id="rId57"/>
    <p:sldLayoutId id="2147483822" r:id="rId58"/>
    <p:sldLayoutId id="2147483823" r:id="rId59"/>
    <p:sldLayoutId id="2147483824" r:id="rId60"/>
    <p:sldLayoutId id="2147483825" r:id="rId61"/>
    <p:sldLayoutId id="2147483826" r:id="rId62"/>
    <p:sldLayoutId id="2147483827" r:id="rId63"/>
    <p:sldLayoutId id="2147483828" r:id="rId64"/>
    <p:sldLayoutId id="2147483829" r:id="rId65"/>
    <p:sldLayoutId id="2147483830" r:id="rId66"/>
    <p:sldLayoutId id="2147483831" r:id="rId67"/>
    <p:sldLayoutId id="2147483832" r:id="rId68"/>
    <p:sldLayoutId id="2147483833" r:id="rId69"/>
    <p:sldLayoutId id="2147483834" r:id="rId70"/>
    <p:sldLayoutId id="2147483835" r:id="rId71"/>
    <p:sldLayoutId id="2147483836" r:id="rId72"/>
    <p:sldLayoutId id="2147483837" r:id="rId73"/>
    <p:sldLayoutId id="2147483838" r:id="rId74"/>
    <p:sldLayoutId id="2147483839" r:id="rId75"/>
    <p:sldLayoutId id="2147483840" r:id="rId76"/>
    <p:sldLayoutId id="2147483841" r:id="rId77"/>
    <p:sldLayoutId id="2147483842" r:id="rId78"/>
    <p:sldLayoutId id="2147483843" r:id="rId79"/>
    <p:sldLayoutId id="2147483844" r:id="rId80"/>
    <p:sldLayoutId id="2147483845" r:id="rId81"/>
    <p:sldLayoutId id="2147483846" r:id="rId82"/>
    <p:sldLayoutId id="2147483847" r:id="rId83"/>
    <p:sldLayoutId id="2147483848" r:id="rId84"/>
    <p:sldLayoutId id="2147483849" r:id="rId85"/>
    <p:sldLayoutId id="2147483850" r:id="rId86"/>
    <p:sldLayoutId id="2147483851" r:id="rId87"/>
    <p:sldLayoutId id="2147483852" r:id="rId88"/>
    <p:sldLayoutId id="2147484017" r:id="rId89"/>
    <p:sldLayoutId id="2147484020" r:id="rId90"/>
    <p:sldLayoutId id="2147484021" r:id="rId91"/>
    <p:sldLayoutId id="2147484022" r:id="rId92"/>
    <p:sldLayoutId id="2147484023" r:id="rId93"/>
    <p:sldLayoutId id="2147484024" r:id="rId94"/>
    <p:sldLayoutId id="2147484025" r:id="rId95"/>
    <p:sldLayoutId id="2147484026" r:id="rId96"/>
    <p:sldLayoutId id="2147484027" r:id="rId97"/>
    <p:sldLayoutId id="2147484028" r:id="rId98"/>
    <p:sldLayoutId id="2147484029" r:id="rId99"/>
    <p:sldLayoutId id="2147484030" r:id="rId100"/>
    <p:sldLayoutId id="2147484031" r:id="rId101"/>
    <p:sldLayoutId id="2147484032" r:id="rId102"/>
    <p:sldLayoutId id="2147484033" r:id="rId103"/>
    <p:sldLayoutId id="2147484034" r:id="rId104"/>
    <p:sldLayoutId id="2147484035" r:id="rId105"/>
    <p:sldLayoutId id="2147484036" r:id="rId106"/>
    <p:sldLayoutId id="2147484037" r:id="rId107"/>
    <p:sldLayoutId id="2147484038" r:id="rId108"/>
    <p:sldLayoutId id="2147484039" r:id="rId109"/>
    <p:sldLayoutId id="2147484040" r:id="rId110"/>
    <p:sldLayoutId id="2147484041" r:id="rId111"/>
    <p:sldLayoutId id="2147484042" r:id="rId112"/>
    <p:sldLayoutId id="2147484043" r:id="rId113"/>
    <p:sldLayoutId id="2147484044" r:id="rId114"/>
    <p:sldLayoutId id="2147484045" r:id="rId115"/>
    <p:sldLayoutId id="2147484046" r:id="rId116"/>
    <p:sldLayoutId id="2147484047" r:id="rId117"/>
    <p:sldLayoutId id="2147484048" r:id="rId118"/>
    <p:sldLayoutId id="2147484049" r:id="rId119"/>
    <p:sldLayoutId id="2147484050" r:id="rId120"/>
    <p:sldLayoutId id="2147484051" r:id="rId121"/>
    <p:sldLayoutId id="2147484052" r:id="rId122"/>
    <p:sldLayoutId id="2147484053" r:id="rId123"/>
    <p:sldLayoutId id="2147484054" r:id="rId124"/>
    <p:sldLayoutId id="2147484055" r:id="rId125"/>
    <p:sldLayoutId id="2147484056" r:id="rId126"/>
    <p:sldLayoutId id="2147484057" r:id="rId127"/>
  </p:sldLayoutIdLst>
  <p:txStyles>
    <p:titleStyle>
      <a:lvl1pPr algn="ctr" defTabSz="981334" rtl="0" eaLnBrk="1" latinLnBrk="0" hangingPunct="1">
        <a:spcBef>
          <a:spcPct val="0"/>
        </a:spcBef>
        <a:buNone/>
        <a:defRPr sz="4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8000" indent="-368000" algn="l" defTabSz="981334" rtl="0" eaLnBrk="1" latinLnBrk="0" hangingPunct="1">
        <a:spcBef>
          <a:spcPct val="200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1pPr>
      <a:lvl2pPr marL="797334" indent="-306667" algn="l" defTabSz="981334" rtl="0" eaLnBrk="1" latinLnBrk="0" hangingPunct="1">
        <a:spcBef>
          <a:spcPct val="20000"/>
        </a:spcBef>
        <a:buFont typeface="Arial" panose="020B0604020202020204" pitchFamily="34" charset="0"/>
        <a:buChar char="–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226668" indent="-245334" algn="l" defTabSz="981334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17335" indent="-245334" algn="l" defTabSz="981334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208002" indent="-245334" algn="l" defTabSz="981334" rtl="0" eaLnBrk="1" latinLnBrk="0" hangingPunct="1">
        <a:spcBef>
          <a:spcPct val="20000"/>
        </a:spcBef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98669" indent="-245334" algn="l" defTabSz="98133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9336" indent="-245334" algn="l" defTabSz="98133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80003" indent="-245334" algn="l" defTabSz="98133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670" indent="-245334" algn="l" defTabSz="98133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370370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7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80000" y="58153"/>
            <a:ext cx="9154212" cy="905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375444" y="1396999"/>
            <a:ext cx="8978900" cy="55308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9061704" y="7221054"/>
            <a:ext cx="320040" cy="9144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1000" b="1">
                <a:solidFill>
                  <a:srgbClr val="080808"/>
                </a:solidFill>
              </a:rPr>
              <a:pPr algn="ctr"/>
              <a:t>‹#›</a:t>
            </a:fld>
            <a:endParaRPr lang="fr-FR" sz="1000" b="1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7115663"/>
            <a:ext cx="9729788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82881" y="6959830"/>
            <a:ext cx="6962763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150" indent="-184150" defTabSz="881063" fontAlgn="t"/>
            <a:endParaRPr lang="en-CA" sz="1000" dirty="0">
              <a:solidFill>
                <a:prstClr val="black"/>
              </a:solidFill>
            </a:endParaRPr>
          </a:p>
        </p:txBody>
      </p:sp>
      <p:sp>
        <p:nvSpPr>
          <p:cNvPr id="14" name="VCT_Marker_ID_14" hidden="1"/>
          <p:cNvSpPr/>
          <p:nvPr>
            <p:custDataLst>
              <p:tags r:id="rId9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>
              <a:solidFill>
                <a:prstClr val="black"/>
              </a:solidFill>
            </a:endParaRPr>
          </a:p>
        </p:txBody>
      </p:sp>
      <p:pic>
        <p:nvPicPr>
          <p:cNvPr id="13" name="Picture 3" descr="C:\Users\vanhunie\Desktop\MARPRD0476 Template ppt A4A2.jp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3238"/>
            <a:ext cx="9729788" cy="7477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reatedFooter"/>
          <p:cNvSpPr txBox="1"/>
          <p:nvPr userDrawn="1"/>
        </p:nvSpPr>
        <p:spPr>
          <a:xfrm>
            <a:off x="8574832" y="7220607"/>
            <a:ext cx="523861" cy="9233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r"/>
            <a:r>
              <a:rPr lang="fr-BE" sz="600" dirty="0" smtClean="0">
                <a:solidFill>
                  <a:prstClr val="black"/>
                </a:solidFill>
              </a:rPr>
              <a:t>NSM A4A(2)</a:t>
            </a:r>
          </a:p>
        </p:txBody>
      </p:sp>
      <p:sp>
        <p:nvSpPr>
          <p:cNvPr id="5" name="OfficeCode"/>
          <p:cNvSpPr txBox="1"/>
          <p:nvPr userDrawn="1">
            <p:custDataLst>
              <p:tags r:id="rId10"/>
            </p:custDataLst>
          </p:nvPr>
        </p:nvSpPr>
        <p:spPr>
          <a:xfrm>
            <a:off x="8185365" y="7220607"/>
            <a:ext cx="212879" cy="9233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r>
              <a:rPr lang="fr-BE" sz="600" dirty="0" smtClean="0">
                <a:solidFill>
                  <a:prstClr val="black"/>
                </a:solidFill>
              </a:rPr>
              <a:t>BOS</a:t>
            </a:r>
          </a:p>
        </p:txBody>
      </p:sp>
    </p:spTree>
    <p:custDataLst>
      <p:custData r:id="rId6"/>
      <p:custData r:id="rId7"/>
    </p:custDataLst>
    <p:extLst>
      <p:ext uri="{BB962C8B-B14F-4D97-AF65-F5344CB8AC3E}">
        <p14:creationId xmlns:p14="http://schemas.microsoft.com/office/powerpoint/2010/main" val="1124939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</p:sldLayoutIdLst>
  <p:timing>
    <p:tnLst>
      <p:par>
        <p:cTn id="1" dur="indefinite" restart="never" nodeType="tmRoot"/>
      </p:par>
    </p:tnLst>
  </p:timing>
  <p:txStyles>
    <p:titleStyle>
      <a:lvl1pPr algn="l" defTabSz="981334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463" marR="0" indent="-271463" algn="l" defTabSz="98107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4675" marR="0" indent="-119063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52513" marR="0" indent="-287338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3896" marR="0" indent="-210312" algn="l" defTabSz="98133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8002" indent="-245334" algn="l" defTabSz="98133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8669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9336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80003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670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13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7" Type="http://schemas.openxmlformats.org/officeDocument/2006/relationships/image" Target="../media/image6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5.png"/><Relationship Id="rId5" Type="http://schemas.openxmlformats.org/officeDocument/2006/relationships/image" Target="../media/image8.jpeg"/><Relationship Id="rId4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6.jpeg"/><Relationship Id="rId7" Type="http://schemas.openxmlformats.org/officeDocument/2006/relationships/image" Target="../media/image8.jpe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3.jpeg"/><Relationship Id="rId5" Type="http://schemas.openxmlformats.org/officeDocument/2006/relationships/image" Target="../media/image27.jpeg"/><Relationship Id="rId4" Type="http://schemas.openxmlformats.org/officeDocument/2006/relationships/image" Target="../media/image21.emf"/><Relationship Id="rId9" Type="http://schemas.openxmlformats.org/officeDocument/2006/relationships/image" Target="../media/image6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0.jpeg"/><Relationship Id="rId7" Type="http://schemas.openxmlformats.org/officeDocument/2006/relationships/image" Target="../media/image34.jpeg"/><Relationship Id="rId12" Type="http://schemas.openxmlformats.org/officeDocument/2006/relationships/image" Target="../media/image37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3.jpeg"/><Relationship Id="rId11" Type="http://schemas.openxmlformats.org/officeDocument/2006/relationships/image" Target="../media/image36.jpeg"/><Relationship Id="rId5" Type="http://schemas.openxmlformats.org/officeDocument/2006/relationships/image" Target="../media/image32.jpeg"/><Relationship Id="rId10" Type="http://schemas.openxmlformats.org/officeDocument/2006/relationships/image" Target="../media/image35.jpeg"/><Relationship Id="rId4" Type="http://schemas.openxmlformats.org/officeDocument/2006/relationships/image" Target="../media/image31.jpeg"/><Relationship Id="rId9" Type="http://schemas.openxmlformats.org/officeDocument/2006/relationships/image" Target="../media/image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0.jpeg"/><Relationship Id="rId4" Type="http://schemas.openxmlformats.org/officeDocument/2006/relationships/hyperlink" Target="https://www.google.com/url?q=http://en.wikipedia.org/wiki/Simpson_family&amp;sa=U&amp;ei=BIWMU_zpJqH14QTi44HIAw&amp;ved=0CDwQ9QEwBw&amp;usg=AFQjCNFbO4m-iioWeiztQrnsC13pqCkjRA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2.jpeg"/><Relationship Id="rId4" Type="http://schemas.openxmlformats.org/officeDocument/2006/relationships/image" Target="../media/image4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image" Target="../media/image50.jpeg"/><Relationship Id="rId7" Type="http://schemas.openxmlformats.org/officeDocument/2006/relationships/image" Target="../media/image54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13" Type="http://schemas.openxmlformats.org/officeDocument/2006/relationships/image" Target="../media/image61.jpeg"/><Relationship Id="rId3" Type="http://schemas.openxmlformats.org/officeDocument/2006/relationships/hyperlink" Target="https://www.google.com/url?q=http://www.juice.eu.com/category/in-store/&amp;sa=U&amp;ei=fXOMU62SMurf4QSuvYH4BA&amp;ved=0CFQQ9QEwEw&amp;usg=AFQjCNG3MbBKkLyyHytH0bjdrZWWrCZu3g" TargetMode="External"/><Relationship Id="rId7" Type="http://schemas.openxmlformats.org/officeDocument/2006/relationships/hyperlink" Target="https://www.google.com/url?q=http://www.manitowocice.com/minisite/about/globalcapabilities&amp;sa=U&amp;ei=HXWMU8r7GujR4QTdpYHIDg&amp;ved=0CEwQ9QEwDw&amp;usg=AFQjCNHI9A1yjInCAc1GcOVyjamJjPOd3A" TargetMode="External"/><Relationship Id="rId12" Type="http://schemas.openxmlformats.org/officeDocument/2006/relationships/hyperlink" Target="https://www.google.com/url?q=http://www.tomandco.be/nl-BE/Over-Tomco/News/Press-Releases/2012/10/Dyadis-actie-voor-hulphonden&amp;sa=U&amp;ei=hHSMU5uBAqLk4QS1loGYBQ&amp;ved=0CC4Q9QEwAA&amp;usg=AFQjCNFhr4uhi07Z-QgSWCKnFVNK2jOlBw" TargetMode="External"/><Relationship Id="rId2" Type="http://schemas.openxmlformats.org/officeDocument/2006/relationships/image" Target="../media/image38.jpeg"/><Relationship Id="rId16" Type="http://schemas.openxmlformats.org/officeDocument/2006/relationships/image" Target="../media/image5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7.jpeg"/><Relationship Id="rId11" Type="http://schemas.openxmlformats.org/officeDocument/2006/relationships/image" Target="../media/image60.jpeg"/><Relationship Id="rId5" Type="http://schemas.openxmlformats.org/officeDocument/2006/relationships/hyperlink" Target="https://www.google.com/url?q=http://www.marketwired.com/press-release/Olympic-Mens-Curlers-Team-Up-With-Pedigree-Adoption-Drive-Campaign-Help-Rebuild-1358073.htm&amp;sa=U&amp;ei=CXSMU9erEOX34QTVrYGIAw&amp;ved=0CDAQ9QEwAQ&amp;usg=AFQjCNFxb_swhdoX-BRQ74CMNcgPVNvwnQ" TargetMode="External"/><Relationship Id="rId15" Type="http://schemas.openxmlformats.org/officeDocument/2006/relationships/image" Target="../media/image62.jpeg"/><Relationship Id="rId10" Type="http://schemas.openxmlformats.org/officeDocument/2006/relationships/hyperlink" Target="https://www.google.com/url?q=http://www.giften-legaten.be/v2/2704-wandeling-solwaster-tvv-dyadis/logo-dyadis-q/&amp;sa=U&amp;ei=hHSMU5uBAqLk4QS1loGYBQ&amp;ved=0CDoQ9QEwBg&amp;usg=AFQjCNEpzLA8Tyx5hpPoJhHW8xWIJ-g2OA" TargetMode="External"/><Relationship Id="rId4" Type="http://schemas.openxmlformats.org/officeDocument/2006/relationships/image" Target="../media/image56.jpeg"/><Relationship Id="rId9" Type="http://schemas.openxmlformats.org/officeDocument/2006/relationships/image" Target="../media/image59.jpeg"/><Relationship Id="rId14" Type="http://schemas.openxmlformats.org/officeDocument/2006/relationships/hyperlink" Target="https://www.google.com/url?q=http://www.flags.net/BELG.htm&amp;sa=U&amp;ei=UHWMU7qSOcut7QaZh4GoCA&amp;ved=0CC0Q9QEwAg&amp;usg=AFQjCNHrkh13Re3cU1HxXnfYaQJI4M07lA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40.xml"/><Relationship Id="rId4" Type="http://schemas.openxmlformats.org/officeDocument/2006/relationships/image" Target="../media/image59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68.jpeg"/><Relationship Id="rId4" Type="http://schemas.openxmlformats.org/officeDocument/2006/relationships/image" Target="../media/image6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7" Type="http://schemas.openxmlformats.org/officeDocument/2006/relationships/image" Target="../media/image72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1.jpeg"/><Relationship Id="rId5" Type="http://schemas.openxmlformats.org/officeDocument/2006/relationships/image" Target="../media/image67.png"/><Relationship Id="rId4" Type="http://schemas.openxmlformats.org/officeDocument/2006/relationships/image" Target="../media/image70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3" Type="http://schemas.openxmlformats.org/officeDocument/2006/relationships/image" Target="../media/image69.png"/><Relationship Id="rId7" Type="http://schemas.openxmlformats.org/officeDocument/2006/relationships/image" Target="../media/image76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5.jpeg"/><Relationship Id="rId5" Type="http://schemas.openxmlformats.org/officeDocument/2006/relationships/image" Target="../media/image74.jpeg"/><Relationship Id="rId4" Type="http://schemas.openxmlformats.org/officeDocument/2006/relationships/image" Target="../media/image73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8.jpeg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6.jpeg"/><Relationship Id="rId4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image" Target="../media/image20.jpeg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vanhunie\Desktop\MARPRD0476 Template ppt A4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40" y="-22522"/>
            <a:ext cx="9790144" cy="7466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496742" y="1849686"/>
            <a:ext cx="5832648" cy="3170099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fr-BE" sz="4000" b="1" dirty="0" err="1" smtClean="0">
                <a:latin typeface="Marsfont" panose="02000000000000000000" pitchFamily="2" charset="0"/>
              </a:rPr>
              <a:t>Dieren</a:t>
            </a:r>
            <a:r>
              <a:rPr lang="fr-BE" sz="4000" b="1" dirty="0" smtClean="0">
                <a:latin typeface="Marsfont" panose="02000000000000000000" pitchFamily="2" charset="0"/>
              </a:rPr>
              <a:t> </a:t>
            </a:r>
            <a:r>
              <a:rPr lang="fr-BE" sz="4000" b="1" dirty="0" err="1" smtClean="0">
                <a:latin typeface="Marsfont" panose="02000000000000000000" pitchFamily="2" charset="0"/>
              </a:rPr>
              <a:t>voor</a:t>
            </a:r>
            <a:r>
              <a:rPr lang="fr-BE" sz="4000" b="1" dirty="0" smtClean="0">
                <a:latin typeface="Marsfont" panose="02000000000000000000" pitchFamily="2" charset="0"/>
              </a:rPr>
              <a:t> </a:t>
            </a:r>
            <a:r>
              <a:rPr lang="fr-BE" sz="4000" b="1" dirty="0" err="1" smtClean="0">
                <a:latin typeface="Marsfont" panose="02000000000000000000" pitchFamily="2" charset="0"/>
              </a:rPr>
              <a:t>Dieren</a:t>
            </a:r>
            <a:endParaRPr lang="fr-BE" sz="4000" b="1" dirty="0" smtClean="0">
              <a:latin typeface="Marsfont" panose="02000000000000000000" pitchFamily="2" charset="0"/>
            </a:endParaRPr>
          </a:p>
          <a:p>
            <a:pPr algn="ctr"/>
            <a:r>
              <a:rPr lang="fr-BE" sz="4000" b="1" dirty="0" smtClean="0">
                <a:latin typeface="Marsfont" panose="02000000000000000000" pitchFamily="2" charset="0"/>
              </a:rPr>
              <a:t>Animaux pour Animaux</a:t>
            </a:r>
          </a:p>
          <a:p>
            <a:pPr algn="ctr"/>
            <a:r>
              <a:rPr lang="fr-BE" sz="4000" b="1" dirty="0" smtClean="0">
                <a:latin typeface="Marsfont" panose="02000000000000000000" pitchFamily="2" charset="0"/>
              </a:rPr>
              <a:t> </a:t>
            </a:r>
          </a:p>
          <a:p>
            <a:pPr algn="ctr"/>
            <a:r>
              <a:rPr lang="fr-BE" sz="4000" b="1" dirty="0" err="1" smtClean="0">
                <a:latin typeface="Marsfont" panose="02000000000000000000" pitchFamily="2" charset="0"/>
              </a:rPr>
              <a:t>juni-juli</a:t>
            </a:r>
            <a:r>
              <a:rPr lang="fr-BE" sz="4000" b="1" dirty="0" smtClean="0">
                <a:latin typeface="Marsfont" panose="02000000000000000000" pitchFamily="2" charset="0"/>
              </a:rPr>
              <a:t> 2014 / juin-juillet 2014</a:t>
            </a:r>
          </a:p>
          <a:p>
            <a:pPr algn="ctr"/>
            <a:endParaRPr lang="en-US" sz="4000" b="1" dirty="0" smtClean="0">
              <a:latin typeface="Marsfon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760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26"/>
          <p:cNvGrpSpPr>
            <a:grpSpLocks/>
          </p:cNvGrpSpPr>
          <p:nvPr/>
        </p:nvGrpSpPr>
        <p:grpSpPr bwMode="auto">
          <a:xfrm>
            <a:off x="2848670" y="1561654"/>
            <a:ext cx="5188568" cy="4776906"/>
            <a:chOff x="1331" y="1052"/>
            <a:chExt cx="3214" cy="2959"/>
          </a:xfr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Freeform 3"/>
            <p:cNvSpPr>
              <a:spLocks/>
            </p:cNvSpPr>
            <p:nvPr/>
          </p:nvSpPr>
          <p:spPr bwMode="auto">
            <a:xfrm>
              <a:off x="1331" y="1252"/>
              <a:ext cx="796" cy="959"/>
            </a:xfrm>
            <a:custGeom>
              <a:avLst/>
              <a:gdLst>
                <a:gd name="T0" fmla="*/ 0 w 848"/>
                <a:gd name="T1" fmla="*/ 372 h 932"/>
                <a:gd name="T2" fmla="*/ 752 w 848"/>
                <a:gd name="T3" fmla="*/ 0 h 932"/>
                <a:gd name="T4" fmla="*/ 812 w 848"/>
                <a:gd name="T5" fmla="*/ 88 h 932"/>
                <a:gd name="T6" fmla="*/ 776 w 848"/>
                <a:gd name="T7" fmla="*/ 156 h 932"/>
                <a:gd name="T8" fmla="*/ 744 w 848"/>
                <a:gd name="T9" fmla="*/ 208 h 932"/>
                <a:gd name="T10" fmla="*/ 712 w 848"/>
                <a:gd name="T11" fmla="*/ 360 h 932"/>
                <a:gd name="T12" fmla="*/ 788 w 848"/>
                <a:gd name="T13" fmla="*/ 464 h 932"/>
                <a:gd name="T14" fmla="*/ 792 w 848"/>
                <a:gd name="T15" fmla="*/ 576 h 932"/>
                <a:gd name="T16" fmla="*/ 812 w 848"/>
                <a:gd name="T17" fmla="*/ 592 h 932"/>
                <a:gd name="T18" fmla="*/ 808 w 848"/>
                <a:gd name="T19" fmla="*/ 692 h 932"/>
                <a:gd name="T20" fmla="*/ 848 w 848"/>
                <a:gd name="T21" fmla="*/ 808 h 932"/>
                <a:gd name="T22" fmla="*/ 720 w 848"/>
                <a:gd name="T23" fmla="*/ 932 h 932"/>
                <a:gd name="T24" fmla="*/ 624 w 848"/>
                <a:gd name="T25" fmla="*/ 852 h 932"/>
                <a:gd name="T26" fmla="*/ 576 w 848"/>
                <a:gd name="T27" fmla="*/ 848 h 932"/>
                <a:gd name="T28" fmla="*/ 436 w 848"/>
                <a:gd name="T29" fmla="*/ 844 h 932"/>
                <a:gd name="T30" fmla="*/ 352 w 848"/>
                <a:gd name="T31" fmla="*/ 920 h 932"/>
                <a:gd name="T32" fmla="*/ 276 w 848"/>
                <a:gd name="T33" fmla="*/ 924 h 932"/>
                <a:gd name="T34" fmla="*/ 104 w 848"/>
                <a:gd name="T35" fmla="*/ 780 h 932"/>
                <a:gd name="T36" fmla="*/ 68 w 848"/>
                <a:gd name="T37" fmla="*/ 584 h 932"/>
                <a:gd name="T38" fmla="*/ 0 w 848"/>
                <a:gd name="T39" fmla="*/ 372 h 93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48"/>
                <a:gd name="T61" fmla="*/ 0 h 932"/>
                <a:gd name="T62" fmla="*/ 848 w 848"/>
                <a:gd name="T63" fmla="*/ 932 h 93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48" h="932">
                  <a:moveTo>
                    <a:pt x="0" y="372"/>
                  </a:moveTo>
                  <a:lnTo>
                    <a:pt x="752" y="0"/>
                  </a:lnTo>
                  <a:lnTo>
                    <a:pt x="812" y="88"/>
                  </a:lnTo>
                  <a:lnTo>
                    <a:pt x="776" y="156"/>
                  </a:lnTo>
                  <a:lnTo>
                    <a:pt x="744" y="208"/>
                  </a:lnTo>
                  <a:lnTo>
                    <a:pt x="712" y="360"/>
                  </a:lnTo>
                  <a:lnTo>
                    <a:pt x="788" y="464"/>
                  </a:lnTo>
                  <a:lnTo>
                    <a:pt x="792" y="576"/>
                  </a:lnTo>
                  <a:lnTo>
                    <a:pt x="812" y="592"/>
                  </a:lnTo>
                  <a:lnTo>
                    <a:pt x="808" y="692"/>
                  </a:lnTo>
                  <a:lnTo>
                    <a:pt x="848" y="808"/>
                  </a:lnTo>
                  <a:lnTo>
                    <a:pt x="720" y="932"/>
                  </a:lnTo>
                  <a:lnTo>
                    <a:pt x="624" y="852"/>
                  </a:lnTo>
                  <a:lnTo>
                    <a:pt x="576" y="848"/>
                  </a:lnTo>
                  <a:lnTo>
                    <a:pt x="436" y="844"/>
                  </a:lnTo>
                  <a:lnTo>
                    <a:pt x="352" y="920"/>
                  </a:lnTo>
                  <a:lnTo>
                    <a:pt x="276" y="924"/>
                  </a:lnTo>
                  <a:lnTo>
                    <a:pt x="104" y="780"/>
                  </a:lnTo>
                  <a:lnTo>
                    <a:pt x="68" y="584"/>
                  </a:lnTo>
                  <a:lnTo>
                    <a:pt x="0" y="372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4"/>
            <p:cNvSpPr>
              <a:spLocks/>
            </p:cNvSpPr>
            <p:nvPr/>
          </p:nvSpPr>
          <p:spPr bwMode="auto">
            <a:xfrm>
              <a:off x="1999" y="1246"/>
              <a:ext cx="839" cy="953"/>
            </a:xfrm>
            <a:custGeom>
              <a:avLst/>
              <a:gdLst>
                <a:gd name="T0" fmla="*/ 28 w 894"/>
                <a:gd name="T1" fmla="*/ 212 h 926"/>
                <a:gd name="T2" fmla="*/ 76 w 894"/>
                <a:gd name="T3" fmla="*/ 474 h 926"/>
                <a:gd name="T4" fmla="*/ 102 w 894"/>
                <a:gd name="T5" fmla="*/ 600 h 926"/>
                <a:gd name="T6" fmla="*/ 140 w 894"/>
                <a:gd name="T7" fmla="*/ 818 h 926"/>
                <a:gd name="T8" fmla="*/ 268 w 894"/>
                <a:gd name="T9" fmla="*/ 926 h 926"/>
                <a:gd name="T10" fmla="*/ 386 w 894"/>
                <a:gd name="T11" fmla="*/ 844 h 926"/>
                <a:gd name="T12" fmla="*/ 540 w 894"/>
                <a:gd name="T13" fmla="*/ 910 h 926"/>
                <a:gd name="T14" fmla="*/ 528 w 894"/>
                <a:gd name="T15" fmla="*/ 864 h 926"/>
                <a:gd name="T16" fmla="*/ 580 w 894"/>
                <a:gd name="T17" fmla="*/ 856 h 926"/>
                <a:gd name="T18" fmla="*/ 658 w 894"/>
                <a:gd name="T19" fmla="*/ 800 h 926"/>
                <a:gd name="T20" fmla="*/ 646 w 894"/>
                <a:gd name="T21" fmla="*/ 746 h 926"/>
                <a:gd name="T22" fmla="*/ 666 w 894"/>
                <a:gd name="T23" fmla="*/ 696 h 926"/>
                <a:gd name="T24" fmla="*/ 686 w 894"/>
                <a:gd name="T25" fmla="*/ 648 h 926"/>
                <a:gd name="T26" fmla="*/ 686 w 894"/>
                <a:gd name="T27" fmla="*/ 618 h 926"/>
                <a:gd name="T28" fmla="*/ 734 w 894"/>
                <a:gd name="T29" fmla="*/ 628 h 926"/>
                <a:gd name="T30" fmla="*/ 736 w 894"/>
                <a:gd name="T31" fmla="*/ 584 h 926"/>
                <a:gd name="T32" fmla="*/ 742 w 894"/>
                <a:gd name="T33" fmla="*/ 530 h 926"/>
                <a:gd name="T34" fmla="*/ 774 w 894"/>
                <a:gd name="T35" fmla="*/ 544 h 926"/>
                <a:gd name="T36" fmla="*/ 790 w 894"/>
                <a:gd name="T37" fmla="*/ 500 h 926"/>
                <a:gd name="T38" fmla="*/ 796 w 894"/>
                <a:gd name="T39" fmla="*/ 458 h 926"/>
                <a:gd name="T40" fmla="*/ 758 w 894"/>
                <a:gd name="T41" fmla="*/ 450 h 926"/>
                <a:gd name="T42" fmla="*/ 778 w 894"/>
                <a:gd name="T43" fmla="*/ 416 h 926"/>
                <a:gd name="T44" fmla="*/ 774 w 894"/>
                <a:gd name="T45" fmla="*/ 346 h 926"/>
                <a:gd name="T46" fmla="*/ 844 w 894"/>
                <a:gd name="T47" fmla="*/ 334 h 926"/>
                <a:gd name="T48" fmla="*/ 892 w 894"/>
                <a:gd name="T49" fmla="*/ 300 h 926"/>
                <a:gd name="T50" fmla="*/ 850 w 894"/>
                <a:gd name="T51" fmla="*/ 148 h 926"/>
                <a:gd name="T52" fmla="*/ 874 w 894"/>
                <a:gd name="T53" fmla="*/ 124 h 926"/>
                <a:gd name="T54" fmla="*/ 832 w 894"/>
                <a:gd name="T55" fmla="*/ 76 h 926"/>
                <a:gd name="T56" fmla="*/ 842 w 894"/>
                <a:gd name="T57" fmla="*/ 16 h 926"/>
                <a:gd name="T58" fmla="*/ 548 w 894"/>
                <a:gd name="T59" fmla="*/ 202 h 926"/>
                <a:gd name="T60" fmla="*/ 432 w 894"/>
                <a:gd name="T61" fmla="*/ 142 h 926"/>
                <a:gd name="T62" fmla="*/ 258 w 894"/>
                <a:gd name="T63" fmla="*/ 156 h 926"/>
                <a:gd name="T64" fmla="*/ 96 w 894"/>
                <a:gd name="T65" fmla="*/ 96 h 9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94"/>
                <a:gd name="T100" fmla="*/ 0 h 926"/>
                <a:gd name="T101" fmla="*/ 894 w 894"/>
                <a:gd name="T102" fmla="*/ 926 h 9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94" h="926">
                  <a:moveTo>
                    <a:pt x="96" y="96"/>
                  </a:moveTo>
                  <a:lnTo>
                    <a:pt x="28" y="212"/>
                  </a:lnTo>
                  <a:lnTo>
                    <a:pt x="0" y="366"/>
                  </a:lnTo>
                  <a:lnTo>
                    <a:pt x="76" y="474"/>
                  </a:lnTo>
                  <a:lnTo>
                    <a:pt x="76" y="582"/>
                  </a:lnTo>
                  <a:lnTo>
                    <a:pt x="102" y="600"/>
                  </a:lnTo>
                  <a:lnTo>
                    <a:pt x="94" y="698"/>
                  </a:lnTo>
                  <a:lnTo>
                    <a:pt x="140" y="818"/>
                  </a:lnTo>
                  <a:lnTo>
                    <a:pt x="190" y="900"/>
                  </a:lnTo>
                  <a:lnTo>
                    <a:pt x="268" y="926"/>
                  </a:lnTo>
                  <a:lnTo>
                    <a:pt x="308" y="846"/>
                  </a:lnTo>
                  <a:lnTo>
                    <a:pt x="386" y="844"/>
                  </a:lnTo>
                  <a:lnTo>
                    <a:pt x="490" y="910"/>
                  </a:lnTo>
                  <a:lnTo>
                    <a:pt x="540" y="910"/>
                  </a:lnTo>
                  <a:lnTo>
                    <a:pt x="554" y="896"/>
                  </a:lnTo>
                  <a:lnTo>
                    <a:pt x="528" y="864"/>
                  </a:lnTo>
                  <a:lnTo>
                    <a:pt x="548" y="830"/>
                  </a:lnTo>
                  <a:lnTo>
                    <a:pt x="580" y="856"/>
                  </a:lnTo>
                  <a:lnTo>
                    <a:pt x="626" y="838"/>
                  </a:lnTo>
                  <a:lnTo>
                    <a:pt x="658" y="800"/>
                  </a:lnTo>
                  <a:lnTo>
                    <a:pt x="656" y="780"/>
                  </a:lnTo>
                  <a:lnTo>
                    <a:pt x="646" y="746"/>
                  </a:lnTo>
                  <a:lnTo>
                    <a:pt x="648" y="716"/>
                  </a:lnTo>
                  <a:lnTo>
                    <a:pt x="666" y="696"/>
                  </a:lnTo>
                  <a:lnTo>
                    <a:pt x="668" y="670"/>
                  </a:lnTo>
                  <a:lnTo>
                    <a:pt x="686" y="648"/>
                  </a:lnTo>
                  <a:lnTo>
                    <a:pt x="670" y="630"/>
                  </a:lnTo>
                  <a:lnTo>
                    <a:pt x="686" y="618"/>
                  </a:lnTo>
                  <a:lnTo>
                    <a:pt x="702" y="634"/>
                  </a:lnTo>
                  <a:lnTo>
                    <a:pt x="734" y="628"/>
                  </a:lnTo>
                  <a:lnTo>
                    <a:pt x="722" y="596"/>
                  </a:lnTo>
                  <a:lnTo>
                    <a:pt x="736" y="584"/>
                  </a:lnTo>
                  <a:lnTo>
                    <a:pt x="724" y="558"/>
                  </a:lnTo>
                  <a:lnTo>
                    <a:pt x="742" y="530"/>
                  </a:lnTo>
                  <a:lnTo>
                    <a:pt x="758" y="540"/>
                  </a:lnTo>
                  <a:lnTo>
                    <a:pt x="774" y="544"/>
                  </a:lnTo>
                  <a:lnTo>
                    <a:pt x="806" y="514"/>
                  </a:lnTo>
                  <a:lnTo>
                    <a:pt x="790" y="500"/>
                  </a:lnTo>
                  <a:lnTo>
                    <a:pt x="810" y="470"/>
                  </a:lnTo>
                  <a:lnTo>
                    <a:pt x="796" y="458"/>
                  </a:lnTo>
                  <a:lnTo>
                    <a:pt x="784" y="476"/>
                  </a:lnTo>
                  <a:lnTo>
                    <a:pt x="758" y="450"/>
                  </a:lnTo>
                  <a:lnTo>
                    <a:pt x="778" y="432"/>
                  </a:lnTo>
                  <a:lnTo>
                    <a:pt x="778" y="416"/>
                  </a:lnTo>
                  <a:lnTo>
                    <a:pt x="742" y="382"/>
                  </a:lnTo>
                  <a:lnTo>
                    <a:pt x="774" y="346"/>
                  </a:lnTo>
                  <a:lnTo>
                    <a:pt x="828" y="348"/>
                  </a:lnTo>
                  <a:lnTo>
                    <a:pt x="844" y="334"/>
                  </a:lnTo>
                  <a:lnTo>
                    <a:pt x="876" y="332"/>
                  </a:lnTo>
                  <a:lnTo>
                    <a:pt x="892" y="300"/>
                  </a:lnTo>
                  <a:lnTo>
                    <a:pt x="894" y="250"/>
                  </a:lnTo>
                  <a:lnTo>
                    <a:pt x="850" y="148"/>
                  </a:lnTo>
                  <a:lnTo>
                    <a:pt x="862" y="128"/>
                  </a:lnTo>
                  <a:lnTo>
                    <a:pt x="874" y="124"/>
                  </a:lnTo>
                  <a:lnTo>
                    <a:pt x="876" y="102"/>
                  </a:lnTo>
                  <a:lnTo>
                    <a:pt x="832" y="76"/>
                  </a:lnTo>
                  <a:lnTo>
                    <a:pt x="832" y="36"/>
                  </a:lnTo>
                  <a:lnTo>
                    <a:pt x="842" y="16"/>
                  </a:lnTo>
                  <a:lnTo>
                    <a:pt x="828" y="0"/>
                  </a:lnTo>
                  <a:lnTo>
                    <a:pt x="548" y="202"/>
                  </a:lnTo>
                  <a:lnTo>
                    <a:pt x="438" y="202"/>
                  </a:lnTo>
                  <a:lnTo>
                    <a:pt x="432" y="142"/>
                  </a:lnTo>
                  <a:lnTo>
                    <a:pt x="336" y="146"/>
                  </a:lnTo>
                  <a:lnTo>
                    <a:pt x="258" y="156"/>
                  </a:lnTo>
                  <a:lnTo>
                    <a:pt x="158" y="172"/>
                  </a:lnTo>
                  <a:lnTo>
                    <a:pt x="96" y="96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1883" y="2079"/>
              <a:ext cx="1196" cy="1291"/>
            </a:xfrm>
            <a:custGeom>
              <a:avLst/>
              <a:gdLst>
                <a:gd name="T0" fmla="*/ 100 w 1274"/>
                <a:gd name="T1" fmla="*/ 412 h 1254"/>
                <a:gd name="T2" fmla="*/ 478 w 1274"/>
                <a:gd name="T3" fmla="*/ 644 h 1254"/>
                <a:gd name="T4" fmla="*/ 868 w 1274"/>
                <a:gd name="T5" fmla="*/ 776 h 1254"/>
                <a:gd name="T6" fmla="*/ 850 w 1274"/>
                <a:gd name="T7" fmla="*/ 1186 h 1254"/>
                <a:gd name="T8" fmla="*/ 1126 w 1274"/>
                <a:gd name="T9" fmla="*/ 1210 h 1254"/>
                <a:gd name="T10" fmla="*/ 1098 w 1274"/>
                <a:gd name="T11" fmla="*/ 1132 h 1254"/>
                <a:gd name="T12" fmla="*/ 1084 w 1274"/>
                <a:gd name="T13" fmla="*/ 1084 h 1254"/>
                <a:gd name="T14" fmla="*/ 1076 w 1274"/>
                <a:gd name="T15" fmla="*/ 1030 h 1254"/>
                <a:gd name="T16" fmla="*/ 1060 w 1274"/>
                <a:gd name="T17" fmla="*/ 992 h 1254"/>
                <a:gd name="T18" fmla="*/ 1074 w 1274"/>
                <a:gd name="T19" fmla="*/ 962 h 1254"/>
                <a:gd name="T20" fmla="*/ 1068 w 1274"/>
                <a:gd name="T21" fmla="*/ 884 h 1254"/>
                <a:gd name="T22" fmla="*/ 1054 w 1274"/>
                <a:gd name="T23" fmla="*/ 802 h 1254"/>
                <a:gd name="T24" fmla="*/ 990 w 1274"/>
                <a:gd name="T25" fmla="*/ 802 h 1254"/>
                <a:gd name="T26" fmla="*/ 976 w 1274"/>
                <a:gd name="T27" fmla="*/ 782 h 1254"/>
                <a:gd name="T28" fmla="*/ 1002 w 1274"/>
                <a:gd name="T29" fmla="*/ 772 h 1254"/>
                <a:gd name="T30" fmla="*/ 1016 w 1274"/>
                <a:gd name="T31" fmla="*/ 744 h 1254"/>
                <a:gd name="T32" fmla="*/ 1048 w 1274"/>
                <a:gd name="T33" fmla="*/ 736 h 1254"/>
                <a:gd name="T34" fmla="*/ 1094 w 1274"/>
                <a:gd name="T35" fmla="*/ 706 h 1254"/>
                <a:gd name="T36" fmla="*/ 1144 w 1274"/>
                <a:gd name="T37" fmla="*/ 674 h 1254"/>
                <a:gd name="T38" fmla="*/ 1176 w 1274"/>
                <a:gd name="T39" fmla="*/ 676 h 1254"/>
                <a:gd name="T40" fmla="*/ 1202 w 1274"/>
                <a:gd name="T41" fmla="*/ 690 h 1254"/>
                <a:gd name="T42" fmla="*/ 1234 w 1274"/>
                <a:gd name="T43" fmla="*/ 686 h 1254"/>
                <a:gd name="T44" fmla="*/ 1252 w 1274"/>
                <a:gd name="T45" fmla="*/ 582 h 1254"/>
                <a:gd name="T46" fmla="*/ 1240 w 1274"/>
                <a:gd name="T47" fmla="*/ 506 h 1254"/>
                <a:gd name="T48" fmla="*/ 1266 w 1274"/>
                <a:gd name="T49" fmla="*/ 476 h 1254"/>
                <a:gd name="T50" fmla="*/ 1238 w 1274"/>
                <a:gd name="T51" fmla="*/ 430 h 1254"/>
                <a:gd name="T52" fmla="*/ 1228 w 1274"/>
                <a:gd name="T53" fmla="*/ 406 h 1254"/>
                <a:gd name="T54" fmla="*/ 1202 w 1274"/>
                <a:gd name="T55" fmla="*/ 396 h 1254"/>
                <a:gd name="T56" fmla="*/ 1160 w 1274"/>
                <a:gd name="T57" fmla="*/ 370 h 1254"/>
                <a:gd name="T58" fmla="*/ 1116 w 1274"/>
                <a:gd name="T59" fmla="*/ 344 h 1254"/>
                <a:gd name="T60" fmla="*/ 1082 w 1274"/>
                <a:gd name="T61" fmla="*/ 336 h 1254"/>
                <a:gd name="T62" fmla="*/ 1020 w 1274"/>
                <a:gd name="T63" fmla="*/ 354 h 1254"/>
                <a:gd name="T64" fmla="*/ 984 w 1274"/>
                <a:gd name="T65" fmla="*/ 308 h 1254"/>
                <a:gd name="T66" fmla="*/ 950 w 1274"/>
                <a:gd name="T67" fmla="*/ 296 h 1254"/>
                <a:gd name="T68" fmla="*/ 950 w 1274"/>
                <a:gd name="T69" fmla="*/ 264 h 1254"/>
                <a:gd name="T70" fmla="*/ 898 w 1274"/>
                <a:gd name="T71" fmla="*/ 238 h 1254"/>
                <a:gd name="T72" fmla="*/ 848 w 1274"/>
                <a:gd name="T73" fmla="*/ 218 h 1254"/>
                <a:gd name="T74" fmla="*/ 834 w 1274"/>
                <a:gd name="T75" fmla="*/ 254 h 1254"/>
                <a:gd name="T76" fmla="*/ 812 w 1274"/>
                <a:gd name="T77" fmla="*/ 194 h 1254"/>
                <a:gd name="T78" fmla="*/ 768 w 1274"/>
                <a:gd name="T79" fmla="*/ 138 h 1254"/>
                <a:gd name="T80" fmla="*/ 722 w 1274"/>
                <a:gd name="T81" fmla="*/ 138 h 1254"/>
                <a:gd name="T82" fmla="*/ 678 w 1274"/>
                <a:gd name="T83" fmla="*/ 142 h 1254"/>
                <a:gd name="T84" fmla="*/ 646 w 1274"/>
                <a:gd name="T85" fmla="*/ 150 h 1254"/>
                <a:gd name="T86" fmla="*/ 616 w 1274"/>
                <a:gd name="T87" fmla="*/ 106 h 1254"/>
                <a:gd name="T88" fmla="*/ 510 w 1274"/>
                <a:gd name="T89" fmla="*/ 30 h 1254"/>
                <a:gd name="T90" fmla="*/ 388 w 1274"/>
                <a:gd name="T91" fmla="*/ 108 h 1254"/>
                <a:gd name="T92" fmla="*/ 262 w 1274"/>
                <a:gd name="T93" fmla="*/ 0 h 1254"/>
                <a:gd name="T94" fmla="*/ 32 w 1274"/>
                <a:gd name="T95" fmla="*/ 42 h 125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74"/>
                <a:gd name="T145" fmla="*/ 0 h 1254"/>
                <a:gd name="T146" fmla="*/ 1274 w 1274"/>
                <a:gd name="T147" fmla="*/ 1254 h 125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74" h="1254">
                  <a:moveTo>
                    <a:pt x="0" y="44"/>
                  </a:moveTo>
                  <a:lnTo>
                    <a:pt x="100" y="412"/>
                  </a:lnTo>
                  <a:lnTo>
                    <a:pt x="364" y="440"/>
                  </a:lnTo>
                  <a:lnTo>
                    <a:pt x="478" y="644"/>
                  </a:lnTo>
                  <a:lnTo>
                    <a:pt x="706" y="648"/>
                  </a:lnTo>
                  <a:lnTo>
                    <a:pt x="868" y="776"/>
                  </a:lnTo>
                  <a:lnTo>
                    <a:pt x="882" y="1064"/>
                  </a:lnTo>
                  <a:lnTo>
                    <a:pt x="850" y="1186"/>
                  </a:lnTo>
                  <a:lnTo>
                    <a:pt x="1116" y="1254"/>
                  </a:lnTo>
                  <a:lnTo>
                    <a:pt x="1126" y="1210"/>
                  </a:lnTo>
                  <a:lnTo>
                    <a:pt x="1092" y="1176"/>
                  </a:lnTo>
                  <a:lnTo>
                    <a:pt x="1098" y="1132"/>
                  </a:lnTo>
                  <a:lnTo>
                    <a:pt x="1082" y="1110"/>
                  </a:lnTo>
                  <a:lnTo>
                    <a:pt x="1084" y="1084"/>
                  </a:lnTo>
                  <a:lnTo>
                    <a:pt x="1064" y="1052"/>
                  </a:lnTo>
                  <a:lnTo>
                    <a:pt x="1076" y="1030"/>
                  </a:lnTo>
                  <a:lnTo>
                    <a:pt x="1074" y="1006"/>
                  </a:lnTo>
                  <a:lnTo>
                    <a:pt x="1060" y="992"/>
                  </a:lnTo>
                  <a:lnTo>
                    <a:pt x="1066" y="978"/>
                  </a:lnTo>
                  <a:lnTo>
                    <a:pt x="1074" y="962"/>
                  </a:lnTo>
                  <a:lnTo>
                    <a:pt x="1046" y="914"/>
                  </a:lnTo>
                  <a:lnTo>
                    <a:pt x="1068" y="884"/>
                  </a:lnTo>
                  <a:lnTo>
                    <a:pt x="1070" y="814"/>
                  </a:lnTo>
                  <a:lnTo>
                    <a:pt x="1054" y="802"/>
                  </a:lnTo>
                  <a:lnTo>
                    <a:pt x="1022" y="824"/>
                  </a:lnTo>
                  <a:lnTo>
                    <a:pt x="990" y="802"/>
                  </a:lnTo>
                  <a:lnTo>
                    <a:pt x="976" y="798"/>
                  </a:lnTo>
                  <a:lnTo>
                    <a:pt x="976" y="782"/>
                  </a:lnTo>
                  <a:lnTo>
                    <a:pt x="990" y="776"/>
                  </a:lnTo>
                  <a:lnTo>
                    <a:pt x="1002" y="772"/>
                  </a:lnTo>
                  <a:lnTo>
                    <a:pt x="1008" y="754"/>
                  </a:lnTo>
                  <a:lnTo>
                    <a:pt x="1016" y="744"/>
                  </a:lnTo>
                  <a:lnTo>
                    <a:pt x="1036" y="750"/>
                  </a:lnTo>
                  <a:lnTo>
                    <a:pt x="1048" y="736"/>
                  </a:lnTo>
                  <a:lnTo>
                    <a:pt x="1070" y="736"/>
                  </a:lnTo>
                  <a:lnTo>
                    <a:pt x="1094" y="706"/>
                  </a:lnTo>
                  <a:lnTo>
                    <a:pt x="1122" y="702"/>
                  </a:lnTo>
                  <a:lnTo>
                    <a:pt x="1144" y="674"/>
                  </a:lnTo>
                  <a:lnTo>
                    <a:pt x="1160" y="688"/>
                  </a:lnTo>
                  <a:lnTo>
                    <a:pt x="1176" y="676"/>
                  </a:lnTo>
                  <a:lnTo>
                    <a:pt x="1184" y="694"/>
                  </a:lnTo>
                  <a:lnTo>
                    <a:pt x="1202" y="690"/>
                  </a:lnTo>
                  <a:lnTo>
                    <a:pt x="1216" y="672"/>
                  </a:lnTo>
                  <a:lnTo>
                    <a:pt x="1234" y="686"/>
                  </a:lnTo>
                  <a:lnTo>
                    <a:pt x="1250" y="666"/>
                  </a:lnTo>
                  <a:lnTo>
                    <a:pt x="1252" y="582"/>
                  </a:lnTo>
                  <a:lnTo>
                    <a:pt x="1274" y="544"/>
                  </a:lnTo>
                  <a:lnTo>
                    <a:pt x="1240" y="506"/>
                  </a:lnTo>
                  <a:lnTo>
                    <a:pt x="1244" y="486"/>
                  </a:lnTo>
                  <a:lnTo>
                    <a:pt x="1266" y="476"/>
                  </a:lnTo>
                  <a:lnTo>
                    <a:pt x="1264" y="452"/>
                  </a:lnTo>
                  <a:lnTo>
                    <a:pt x="1238" y="430"/>
                  </a:lnTo>
                  <a:lnTo>
                    <a:pt x="1212" y="424"/>
                  </a:lnTo>
                  <a:lnTo>
                    <a:pt x="1228" y="406"/>
                  </a:lnTo>
                  <a:lnTo>
                    <a:pt x="1230" y="370"/>
                  </a:lnTo>
                  <a:lnTo>
                    <a:pt x="1202" y="396"/>
                  </a:lnTo>
                  <a:lnTo>
                    <a:pt x="1180" y="394"/>
                  </a:lnTo>
                  <a:lnTo>
                    <a:pt x="1160" y="370"/>
                  </a:lnTo>
                  <a:lnTo>
                    <a:pt x="1138" y="372"/>
                  </a:lnTo>
                  <a:lnTo>
                    <a:pt x="1116" y="344"/>
                  </a:lnTo>
                  <a:lnTo>
                    <a:pt x="1092" y="346"/>
                  </a:lnTo>
                  <a:lnTo>
                    <a:pt x="1082" y="336"/>
                  </a:lnTo>
                  <a:lnTo>
                    <a:pt x="1042" y="336"/>
                  </a:lnTo>
                  <a:lnTo>
                    <a:pt x="1020" y="354"/>
                  </a:lnTo>
                  <a:lnTo>
                    <a:pt x="996" y="332"/>
                  </a:lnTo>
                  <a:lnTo>
                    <a:pt x="984" y="308"/>
                  </a:lnTo>
                  <a:lnTo>
                    <a:pt x="964" y="294"/>
                  </a:lnTo>
                  <a:lnTo>
                    <a:pt x="950" y="296"/>
                  </a:lnTo>
                  <a:lnTo>
                    <a:pt x="938" y="278"/>
                  </a:lnTo>
                  <a:lnTo>
                    <a:pt x="950" y="264"/>
                  </a:lnTo>
                  <a:lnTo>
                    <a:pt x="934" y="254"/>
                  </a:lnTo>
                  <a:lnTo>
                    <a:pt x="898" y="238"/>
                  </a:lnTo>
                  <a:lnTo>
                    <a:pt x="882" y="190"/>
                  </a:lnTo>
                  <a:lnTo>
                    <a:pt x="848" y="218"/>
                  </a:lnTo>
                  <a:lnTo>
                    <a:pt x="854" y="234"/>
                  </a:lnTo>
                  <a:lnTo>
                    <a:pt x="834" y="254"/>
                  </a:lnTo>
                  <a:lnTo>
                    <a:pt x="802" y="210"/>
                  </a:lnTo>
                  <a:lnTo>
                    <a:pt x="812" y="194"/>
                  </a:lnTo>
                  <a:lnTo>
                    <a:pt x="792" y="148"/>
                  </a:lnTo>
                  <a:lnTo>
                    <a:pt x="768" y="138"/>
                  </a:lnTo>
                  <a:lnTo>
                    <a:pt x="734" y="150"/>
                  </a:lnTo>
                  <a:lnTo>
                    <a:pt x="722" y="138"/>
                  </a:lnTo>
                  <a:lnTo>
                    <a:pt x="700" y="162"/>
                  </a:lnTo>
                  <a:lnTo>
                    <a:pt x="678" y="142"/>
                  </a:lnTo>
                  <a:lnTo>
                    <a:pt x="668" y="158"/>
                  </a:lnTo>
                  <a:lnTo>
                    <a:pt x="646" y="150"/>
                  </a:lnTo>
                  <a:lnTo>
                    <a:pt x="628" y="146"/>
                  </a:lnTo>
                  <a:lnTo>
                    <a:pt x="616" y="106"/>
                  </a:lnTo>
                  <a:lnTo>
                    <a:pt x="602" y="86"/>
                  </a:lnTo>
                  <a:lnTo>
                    <a:pt x="510" y="30"/>
                  </a:lnTo>
                  <a:lnTo>
                    <a:pt x="426" y="34"/>
                  </a:lnTo>
                  <a:lnTo>
                    <a:pt x="388" y="108"/>
                  </a:lnTo>
                  <a:lnTo>
                    <a:pt x="312" y="84"/>
                  </a:lnTo>
                  <a:lnTo>
                    <a:pt x="262" y="0"/>
                  </a:lnTo>
                  <a:lnTo>
                    <a:pt x="128" y="124"/>
                  </a:lnTo>
                  <a:lnTo>
                    <a:pt x="32" y="42"/>
                  </a:lnTo>
                  <a:lnTo>
                    <a:pt x="0" y="44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2628" y="2101"/>
              <a:ext cx="792" cy="384"/>
            </a:xfrm>
            <a:custGeom>
              <a:avLst/>
              <a:gdLst>
                <a:gd name="T0" fmla="*/ 18 w 844"/>
                <a:gd name="T1" fmla="*/ 172 h 374"/>
                <a:gd name="T2" fmla="*/ 38 w 844"/>
                <a:gd name="T3" fmla="*/ 236 h 374"/>
                <a:gd name="T4" fmla="*/ 50 w 844"/>
                <a:gd name="T5" fmla="*/ 196 h 374"/>
                <a:gd name="T6" fmla="*/ 102 w 844"/>
                <a:gd name="T7" fmla="*/ 220 h 374"/>
                <a:gd name="T8" fmla="*/ 142 w 844"/>
                <a:gd name="T9" fmla="*/ 260 h 374"/>
                <a:gd name="T10" fmla="*/ 166 w 844"/>
                <a:gd name="T11" fmla="*/ 272 h 374"/>
                <a:gd name="T12" fmla="*/ 198 w 844"/>
                <a:gd name="T13" fmla="*/ 312 h 374"/>
                <a:gd name="T14" fmla="*/ 246 w 844"/>
                <a:gd name="T15" fmla="*/ 316 h 374"/>
                <a:gd name="T16" fmla="*/ 296 w 844"/>
                <a:gd name="T17" fmla="*/ 326 h 374"/>
                <a:gd name="T18" fmla="*/ 342 w 844"/>
                <a:gd name="T19" fmla="*/ 354 h 374"/>
                <a:gd name="T20" fmla="*/ 382 w 844"/>
                <a:gd name="T21" fmla="*/ 370 h 374"/>
                <a:gd name="T22" fmla="*/ 436 w 844"/>
                <a:gd name="T23" fmla="*/ 350 h 374"/>
                <a:gd name="T24" fmla="*/ 468 w 844"/>
                <a:gd name="T25" fmla="*/ 298 h 374"/>
                <a:gd name="T26" fmla="*/ 514 w 844"/>
                <a:gd name="T27" fmla="*/ 262 h 374"/>
                <a:gd name="T28" fmla="*/ 570 w 844"/>
                <a:gd name="T29" fmla="*/ 270 h 374"/>
                <a:gd name="T30" fmla="*/ 600 w 844"/>
                <a:gd name="T31" fmla="*/ 268 h 374"/>
                <a:gd name="T32" fmla="*/ 638 w 844"/>
                <a:gd name="T33" fmla="*/ 270 h 374"/>
                <a:gd name="T34" fmla="*/ 698 w 844"/>
                <a:gd name="T35" fmla="*/ 252 h 374"/>
                <a:gd name="T36" fmla="*/ 726 w 844"/>
                <a:gd name="T37" fmla="*/ 240 h 374"/>
                <a:gd name="T38" fmla="*/ 756 w 844"/>
                <a:gd name="T39" fmla="*/ 228 h 374"/>
                <a:gd name="T40" fmla="*/ 812 w 844"/>
                <a:gd name="T41" fmla="*/ 198 h 374"/>
                <a:gd name="T42" fmla="*/ 816 w 844"/>
                <a:gd name="T43" fmla="*/ 142 h 374"/>
                <a:gd name="T44" fmla="*/ 818 w 844"/>
                <a:gd name="T45" fmla="*/ 86 h 374"/>
                <a:gd name="T46" fmla="*/ 828 w 844"/>
                <a:gd name="T47" fmla="*/ 30 h 374"/>
                <a:gd name="T48" fmla="*/ 778 w 844"/>
                <a:gd name="T49" fmla="*/ 54 h 374"/>
                <a:gd name="T50" fmla="*/ 726 w 844"/>
                <a:gd name="T51" fmla="*/ 32 h 374"/>
                <a:gd name="T52" fmla="*/ 682 w 844"/>
                <a:gd name="T53" fmla="*/ 14 h 374"/>
                <a:gd name="T54" fmla="*/ 542 w 844"/>
                <a:gd name="T55" fmla="*/ 0 h 374"/>
                <a:gd name="T56" fmla="*/ 516 w 844"/>
                <a:gd name="T57" fmla="*/ 40 h 374"/>
                <a:gd name="T58" fmla="*/ 462 w 844"/>
                <a:gd name="T59" fmla="*/ 62 h 374"/>
                <a:gd name="T60" fmla="*/ 378 w 844"/>
                <a:gd name="T61" fmla="*/ 70 h 374"/>
                <a:gd name="T62" fmla="*/ 240 w 844"/>
                <a:gd name="T63" fmla="*/ 116 h 374"/>
                <a:gd name="T64" fmla="*/ 142 w 844"/>
                <a:gd name="T65" fmla="*/ 150 h 374"/>
                <a:gd name="T66" fmla="*/ 72 w 844"/>
                <a:gd name="T67" fmla="*/ 96 h 374"/>
                <a:gd name="T68" fmla="*/ 30 w 844"/>
                <a:gd name="T69" fmla="*/ 108 h 374"/>
                <a:gd name="T70" fmla="*/ 0 w 844"/>
                <a:gd name="T71" fmla="*/ 132 h 37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44"/>
                <a:gd name="T109" fmla="*/ 0 h 374"/>
                <a:gd name="T110" fmla="*/ 844 w 844"/>
                <a:gd name="T111" fmla="*/ 374 h 37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44" h="374">
                  <a:moveTo>
                    <a:pt x="0" y="132"/>
                  </a:moveTo>
                  <a:lnTo>
                    <a:pt x="18" y="172"/>
                  </a:lnTo>
                  <a:lnTo>
                    <a:pt x="8" y="190"/>
                  </a:lnTo>
                  <a:lnTo>
                    <a:pt x="38" y="236"/>
                  </a:lnTo>
                  <a:lnTo>
                    <a:pt x="62" y="214"/>
                  </a:lnTo>
                  <a:lnTo>
                    <a:pt x="50" y="196"/>
                  </a:lnTo>
                  <a:lnTo>
                    <a:pt x="84" y="172"/>
                  </a:lnTo>
                  <a:lnTo>
                    <a:pt x="102" y="220"/>
                  </a:lnTo>
                  <a:lnTo>
                    <a:pt x="152" y="240"/>
                  </a:lnTo>
                  <a:lnTo>
                    <a:pt x="142" y="260"/>
                  </a:lnTo>
                  <a:lnTo>
                    <a:pt x="152" y="276"/>
                  </a:lnTo>
                  <a:lnTo>
                    <a:pt x="166" y="272"/>
                  </a:lnTo>
                  <a:lnTo>
                    <a:pt x="188" y="290"/>
                  </a:lnTo>
                  <a:lnTo>
                    <a:pt x="198" y="312"/>
                  </a:lnTo>
                  <a:lnTo>
                    <a:pt x="226" y="336"/>
                  </a:lnTo>
                  <a:lnTo>
                    <a:pt x="246" y="316"/>
                  </a:lnTo>
                  <a:lnTo>
                    <a:pt x="286" y="312"/>
                  </a:lnTo>
                  <a:lnTo>
                    <a:pt x="296" y="326"/>
                  </a:lnTo>
                  <a:lnTo>
                    <a:pt x="320" y="322"/>
                  </a:lnTo>
                  <a:lnTo>
                    <a:pt x="342" y="354"/>
                  </a:lnTo>
                  <a:lnTo>
                    <a:pt x="360" y="348"/>
                  </a:lnTo>
                  <a:lnTo>
                    <a:pt x="382" y="370"/>
                  </a:lnTo>
                  <a:lnTo>
                    <a:pt x="404" y="374"/>
                  </a:lnTo>
                  <a:lnTo>
                    <a:pt x="436" y="350"/>
                  </a:lnTo>
                  <a:lnTo>
                    <a:pt x="448" y="336"/>
                  </a:lnTo>
                  <a:lnTo>
                    <a:pt x="468" y="298"/>
                  </a:lnTo>
                  <a:lnTo>
                    <a:pt x="510" y="294"/>
                  </a:lnTo>
                  <a:lnTo>
                    <a:pt x="514" y="262"/>
                  </a:lnTo>
                  <a:lnTo>
                    <a:pt x="552" y="254"/>
                  </a:lnTo>
                  <a:lnTo>
                    <a:pt x="570" y="270"/>
                  </a:lnTo>
                  <a:lnTo>
                    <a:pt x="580" y="252"/>
                  </a:lnTo>
                  <a:lnTo>
                    <a:pt x="600" y="268"/>
                  </a:lnTo>
                  <a:lnTo>
                    <a:pt x="616" y="256"/>
                  </a:lnTo>
                  <a:lnTo>
                    <a:pt x="638" y="270"/>
                  </a:lnTo>
                  <a:lnTo>
                    <a:pt x="654" y="246"/>
                  </a:lnTo>
                  <a:lnTo>
                    <a:pt x="698" y="252"/>
                  </a:lnTo>
                  <a:lnTo>
                    <a:pt x="710" y="232"/>
                  </a:lnTo>
                  <a:lnTo>
                    <a:pt x="726" y="240"/>
                  </a:lnTo>
                  <a:lnTo>
                    <a:pt x="744" y="220"/>
                  </a:lnTo>
                  <a:lnTo>
                    <a:pt x="756" y="228"/>
                  </a:lnTo>
                  <a:lnTo>
                    <a:pt x="782" y="198"/>
                  </a:lnTo>
                  <a:lnTo>
                    <a:pt x="812" y="198"/>
                  </a:lnTo>
                  <a:lnTo>
                    <a:pt x="826" y="164"/>
                  </a:lnTo>
                  <a:lnTo>
                    <a:pt x="816" y="142"/>
                  </a:lnTo>
                  <a:lnTo>
                    <a:pt x="838" y="110"/>
                  </a:lnTo>
                  <a:lnTo>
                    <a:pt x="818" y="86"/>
                  </a:lnTo>
                  <a:lnTo>
                    <a:pt x="844" y="42"/>
                  </a:lnTo>
                  <a:lnTo>
                    <a:pt x="828" y="30"/>
                  </a:lnTo>
                  <a:lnTo>
                    <a:pt x="800" y="42"/>
                  </a:lnTo>
                  <a:lnTo>
                    <a:pt x="778" y="54"/>
                  </a:lnTo>
                  <a:lnTo>
                    <a:pt x="756" y="32"/>
                  </a:lnTo>
                  <a:lnTo>
                    <a:pt x="726" y="32"/>
                  </a:lnTo>
                  <a:lnTo>
                    <a:pt x="708" y="22"/>
                  </a:lnTo>
                  <a:lnTo>
                    <a:pt x="682" y="14"/>
                  </a:lnTo>
                  <a:lnTo>
                    <a:pt x="666" y="4"/>
                  </a:lnTo>
                  <a:lnTo>
                    <a:pt x="542" y="0"/>
                  </a:lnTo>
                  <a:lnTo>
                    <a:pt x="514" y="18"/>
                  </a:lnTo>
                  <a:lnTo>
                    <a:pt x="516" y="40"/>
                  </a:lnTo>
                  <a:lnTo>
                    <a:pt x="482" y="70"/>
                  </a:lnTo>
                  <a:lnTo>
                    <a:pt x="462" y="62"/>
                  </a:lnTo>
                  <a:lnTo>
                    <a:pt x="422" y="100"/>
                  </a:lnTo>
                  <a:lnTo>
                    <a:pt x="378" y="70"/>
                  </a:lnTo>
                  <a:lnTo>
                    <a:pt x="332" y="74"/>
                  </a:lnTo>
                  <a:lnTo>
                    <a:pt x="240" y="116"/>
                  </a:lnTo>
                  <a:lnTo>
                    <a:pt x="204" y="148"/>
                  </a:lnTo>
                  <a:lnTo>
                    <a:pt x="142" y="150"/>
                  </a:lnTo>
                  <a:lnTo>
                    <a:pt x="102" y="130"/>
                  </a:lnTo>
                  <a:lnTo>
                    <a:pt x="72" y="96"/>
                  </a:lnTo>
                  <a:lnTo>
                    <a:pt x="54" y="104"/>
                  </a:lnTo>
                  <a:lnTo>
                    <a:pt x="30" y="108"/>
                  </a:lnTo>
                  <a:lnTo>
                    <a:pt x="14" y="124"/>
                  </a:lnTo>
                  <a:lnTo>
                    <a:pt x="0" y="132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696" y="1052"/>
              <a:ext cx="934" cy="745"/>
            </a:xfrm>
            <a:custGeom>
              <a:avLst/>
              <a:gdLst>
                <a:gd name="T0" fmla="*/ 112 w 996"/>
                <a:gd name="T1" fmla="*/ 146 h 724"/>
                <a:gd name="T2" fmla="*/ 200 w 996"/>
                <a:gd name="T3" fmla="*/ 182 h 724"/>
                <a:gd name="T4" fmla="*/ 250 w 996"/>
                <a:gd name="T5" fmla="*/ 146 h 724"/>
                <a:gd name="T6" fmla="*/ 326 w 996"/>
                <a:gd name="T7" fmla="*/ 10 h 724"/>
                <a:gd name="T8" fmla="*/ 340 w 996"/>
                <a:gd name="T9" fmla="*/ 106 h 724"/>
                <a:gd name="T10" fmla="*/ 490 w 996"/>
                <a:gd name="T11" fmla="*/ 44 h 724"/>
                <a:gd name="T12" fmla="*/ 598 w 996"/>
                <a:gd name="T13" fmla="*/ 0 h 724"/>
                <a:gd name="T14" fmla="*/ 698 w 996"/>
                <a:gd name="T15" fmla="*/ 118 h 724"/>
                <a:gd name="T16" fmla="*/ 838 w 996"/>
                <a:gd name="T17" fmla="*/ 30 h 724"/>
                <a:gd name="T18" fmla="*/ 896 w 996"/>
                <a:gd name="T19" fmla="*/ 254 h 724"/>
                <a:gd name="T20" fmla="*/ 964 w 996"/>
                <a:gd name="T21" fmla="*/ 322 h 724"/>
                <a:gd name="T22" fmla="*/ 978 w 996"/>
                <a:gd name="T23" fmla="*/ 422 h 724"/>
                <a:gd name="T24" fmla="*/ 996 w 996"/>
                <a:gd name="T25" fmla="*/ 482 h 724"/>
                <a:gd name="T26" fmla="*/ 950 w 996"/>
                <a:gd name="T27" fmla="*/ 504 h 724"/>
                <a:gd name="T28" fmla="*/ 868 w 996"/>
                <a:gd name="T29" fmla="*/ 534 h 724"/>
                <a:gd name="T30" fmla="*/ 788 w 996"/>
                <a:gd name="T31" fmla="*/ 606 h 724"/>
                <a:gd name="T32" fmla="*/ 732 w 996"/>
                <a:gd name="T33" fmla="*/ 648 h 724"/>
                <a:gd name="T34" fmla="*/ 656 w 996"/>
                <a:gd name="T35" fmla="*/ 674 h 724"/>
                <a:gd name="T36" fmla="*/ 598 w 996"/>
                <a:gd name="T37" fmla="*/ 692 h 724"/>
                <a:gd name="T38" fmla="*/ 550 w 996"/>
                <a:gd name="T39" fmla="*/ 646 h 724"/>
                <a:gd name="T40" fmla="*/ 458 w 996"/>
                <a:gd name="T41" fmla="*/ 672 h 724"/>
                <a:gd name="T42" fmla="*/ 400 w 996"/>
                <a:gd name="T43" fmla="*/ 694 h 724"/>
                <a:gd name="T44" fmla="*/ 348 w 996"/>
                <a:gd name="T45" fmla="*/ 694 h 724"/>
                <a:gd name="T46" fmla="*/ 306 w 996"/>
                <a:gd name="T47" fmla="*/ 710 h 724"/>
                <a:gd name="T48" fmla="*/ 278 w 996"/>
                <a:gd name="T49" fmla="*/ 724 h 724"/>
                <a:gd name="T50" fmla="*/ 236 w 996"/>
                <a:gd name="T51" fmla="*/ 702 h 724"/>
                <a:gd name="T52" fmla="*/ 192 w 996"/>
                <a:gd name="T53" fmla="*/ 686 h 724"/>
                <a:gd name="T54" fmla="*/ 168 w 996"/>
                <a:gd name="T55" fmla="*/ 682 h 724"/>
                <a:gd name="T56" fmla="*/ 110 w 996"/>
                <a:gd name="T57" fmla="*/ 652 h 724"/>
                <a:gd name="T58" fmla="*/ 66 w 996"/>
                <a:gd name="T59" fmla="*/ 660 h 724"/>
                <a:gd name="T60" fmla="*/ 42 w 996"/>
                <a:gd name="T61" fmla="*/ 662 h 724"/>
                <a:gd name="T62" fmla="*/ 34 w 996"/>
                <a:gd name="T63" fmla="*/ 620 h 724"/>
                <a:gd name="T64" fmla="*/ 0 w 996"/>
                <a:gd name="T65" fmla="*/ 568 h 724"/>
                <a:gd name="T66" fmla="*/ 84 w 996"/>
                <a:gd name="T67" fmla="*/ 534 h 724"/>
                <a:gd name="T68" fmla="*/ 130 w 996"/>
                <a:gd name="T69" fmla="*/ 520 h 724"/>
                <a:gd name="T70" fmla="*/ 150 w 996"/>
                <a:gd name="T71" fmla="*/ 434 h 724"/>
                <a:gd name="T72" fmla="*/ 118 w 996"/>
                <a:gd name="T73" fmla="*/ 312 h 724"/>
                <a:gd name="T74" fmla="*/ 136 w 996"/>
                <a:gd name="T75" fmla="*/ 288 h 724"/>
                <a:gd name="T76" fmla="*/ 86 w 996"/>
                <a:gd name="T77" fmla="*/ 224 h 724"/>
                <a:gd name="T78" fmla="*/ 82 w 996"/>
                <a:gd name="T79" fmla="*/ 182 h 7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96"/>
                <a:gd name="T121" fmla="*/ 0 h 724"/>
                <a:gd name="T122" fmla="*/ 996 w 996"/>
                <a:gd name="T123" fmla="*/ 724 h 7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96" h="724">
                  <a:moveTo>
                    <a:pt x="82" y="182"/>
                  </a:moveTo>
                  <a:lnTo>
                    <a:pt x="112" y="146"/>
                  </a:lnTo>
                  <a:lnTo>
                    <a:pt x="150" y="148"/>
                  </a:lnTo>
                  <a:lnTo>
                    <a:pt x="200" y="182"/>
                  </a:lnTo>
                  <a:lnTo>
                    <a:pt x="246" y="182"/>
                  </a:lnTo>
                  <a:lnTo>
                    <a:pt x="250" y="146"/>
                  </a:lnTo>
                  <a:lnTo>
                    <a:pt x="200" y="62"/>
                  </a:lnTo>
                  <a:lnTo>
                    <a:pt x="326" y="10"/>
                  </a:lnTo>
                  <a:lnTo>
                    <a:pt x="344" y="26"/>
                  </a:lnTo>
                  <a:lnTo>
                    <a:pt x="340" y="106"/>
                  </a:lnTo>
                  <a:lnTo>
                    <a:pt x="436" y="102"/>
                  </a:lnTo>
                  <a:lnTo>
                    <a:pt x="490" y="44"/>
                  </a:lnTo>
                  <a:lnTo>
                    <a:pt x="530" y="0"/>
                  </a:lnTo>
                  <a:lnTo>
                    <a:pt x="598" y="0"/>
                  </a:lnTo>
                  <a:lnTo>
                    <a:pt x="600" y="124"/>
                  </a:lnTo>
                  <a:lnTo>
                    <a:pt x="698" y="118"/>
                  </a:lnTo>
                  <a:lnTo>
                    <a:pt x="768" y="28"/>
                  </a:lnTo>
                  <a:lnTo>
                    <a:pt x="838" y="30"/>
                  </a:lnTo>
                  <a:lnTo>
                    <a:pt x="830" y="132"/>
                  </a:lnTo>
                  <a:lnTo>
                    <a:pt x="896" y="254"/>
                  </a:lnTo>
                  <a:lnTo>
                    <a:pt x="918" y="256"/>
                  </a:lnTo>
                  <a:lnTo>
                    <a:pt x="964" y="322"/>
                  </a:lnTo>
                  <a:lnTo>
                    <a:pt x="946" y="394"/>
                  </a:lnTo>
                  <a:lnTo>
                    <a:pt x="978" y="422"/>
                  </a:lnTo>
                  <a:lnTo>
                    <a:pt x="994" y="444"/>
                  </a:lnTo>
                  <a:lnTo>
                    <a:pt x="996" y="482"/>
                  </a:lnTo>
                  <a:lnTo>
                    <a:pt x="974" y="510"/>
                  </a:lnTo>
                  <a:lnTo>
                    <a:pt x="950" y="504"/>
                  </a:lnTo>
                  <a:lnTo>
                    <a:pt x="918" y="538"/>
                  </a:lnTo>
                  <a:lnTo>
                    <a:pt x="868" y="534"/>
                  </a:lnTo>
                  <a:lnTo>
                    <a:pt x="822" y="588"/>
                  </a:lnTo>
                  <a:lnTo>
                    <a:pt x="788" y="606"/>
                  </a:lnTo>
                  <a:lnTo>
                    <a:pt x="758" y="604"/>
                  </a:lnTo>
                  <a:lnTo>
                    <a:pt x="732" y="648"/>
                  </a:lnTo>
                  <a:lnTo>
                    <a:pt x="676" y="652"/>
                  </a:lnTo>
                  <a:lnTo>
                    <a:pt x="656" y="674"/>
                  </a:lnTo>
                  <a:lnTo>
                    <a:pt x="638" y="666"/>
                  </a:lnTo>
                  <a:lnTo>
                    <a:pt x="598" y="692"/>
                  </a:lnTo>
                  <a:lnTo>
                    <a:pt x="580" y="668"/>
                  </a:lnTo>
                  <a:lnTo>
                    <a:pt x="550" y="646"/>
                  </a:lnTo>
                  <a:lnTo>
                    <a:pt x="496" y="690"/>
                  </a:lnTo>
                  <a:lnTo>
                    <a:pt x="458" y="672"/>
                  </a:lnTo>
                  <a:lnTo>
                    <a:pt x="424" y="690"/>
                  </a:lnTo>
                  <a:lnTo>
                    <a:pt x="400" y="694"/>
                  </a:lnTo>
                  <a:lnTo>
                    <a:pt x="386" y="718"/>
                  </a:lnTo>
                  <a:lnTo>
                    <a:pt x="348" y="694"/>
                  </a:lnTo>
                  <a:lnTo>
                    <a:pt x="332" y="710"/>
                  </a:lnTo>
                  <a:lnTo>
                    <a:pt x="306" y="710"/>
                  </a:lnTo>
                  <a:lnTo>
                    <a:pt x="292" y="688"/>
                  </a:lnTo>
                  <a:lnTo>
                    <a:pt x="278" y="724"/>
                  </a:lnTo>
                  <a:lnTo>
                    <a:pt x="252" y="698"/>
                  </a:lnTo>
                  <a:lnTo>
                    <a:pt x="236" y="702"/>
                  </a:lnTo>
                  <a:lnTo>
                    <a:pt x="212" y="714"/>
                  </a:lnTo>
                  <a:lnTo>
                    <a:pt x="192" y="686"/>
                  </a:lnTo>
                  <a:lnTo>
                    <a:pt x="184" y="670"/>
                  </a:lnTo>
                  <a:lnTo>
                    <a:pt x="168" y="682"/>
                  </a:lnTo>
                  <a:lnTo>
                    <a:pt x="130" y="648"/>
                  </a:lnTo>
                  <a:lnTo>
                    <a:pt x="110" y="652"/>
                  </a:lnTo>
                  <a:lnTo>
                    <a:pt x="98" y="638"/>
                  </a:lnTo>
                  <a:lnTo>
                    <a:pt x="66" y="660"/>
                  </a:lnTo>
                  <a:lnTo>
                    <a:pt x="54" y="644"/>
                  </a:lnTo>
                  <a:lnTo>
                    <a:pt x="42" y="662"/>
                  </a:lnTo>
                  <a:lnTo>
                    <a:pt x="14" y="636"/>
                  </a:lnTo>
                  <a:lnTo>
                    <a:pt x="34" y="620"/>
                  </a:lnTo>
                  <a:lnTo>
                    <a:pt x="34" y="602"/>
                  </a:lnTo>
                  <a:lnTo>
                    <a:pt x="0" y="568"/>
                  </a:lnTo>
                  <a:lnTo>
                    <a:pt x="32" y="530"/>
                  </a:lnTo>
                  <a:lnTo>
                    <a:pt x="84" y="534"/>
                  </a:lnTo>
                  <a:lnTo>
                    <a:pt x="102" y="518"/>
                  </a:lnTo>
                  <a:lnTo>
                    <a:pt x="130" y="520"/>
                  </a:lnTo>
                  <a:lnTo>
                    <a:pt x="146" y="490"/>
                  </a:lnTo>
                  <a:lnTo>
                    <a:pt x="150" y="434"/>
                  </a:lnTo>
                  <a:lnTo>
                    <a:pt x="108" y="336"/>
                  </a:lnTo>
                  <a:lnTo>
                    <a:pt x="118" y="312"/>
                  </a:lnTo>
                  <a:lnTo>
                    <a:pt x="136" y="312"/>
                  </a:lnTo>
                  <a:lnTo>
                    <a:pt x="136" y="288"/>
                  </a:lnTo>
                  <a:lnTo>
                    <a:pt x="90" y="266"/>
                  </a:lnTo>
                  <a:lnTo>
                    <a:pt x="86" y="224"/>
                  </a:lnTo>
                  <a:lnTo>
                    <a:pt x="98" y="208"/>
                  </a:lnTo>
                  <a:lnTo>
                    <a:pt x="82" y="182"/>
                  </a:lnTo>
                  <a:close/>
                </a:path>
              </a:pathLst>
            </a:custGeom>
            <a:solidFill>
              <a:srgbClr val="EEA420"/>
            </a:solidFill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2461" y="1702"/>
              <a:ext cx="1102" cy="556"/>
            </a:xfrm>
            <a:custGeom>
              <a:avLst/>
              <a:gdLst>
                <a:gd name="T0" fmla="*/ 989 w 1174"/>
                <a:gd name="T1" fmla="*/ 32 h 540"/>
                <a:gd name="T2" fmla="*/ 1023 w 1174"/>
                <a:gd name="T3" fmla="*/ 41 h 540"/>
                <a:gd name="T4" fmla="*/ 1059 w 1174"/>
                <a:gd name="T5" fmla="*/ 51 h 540"/>
                <a:gd name="T6" fmla="*/ 1073 w 1174"/>
                <a:gd name="T7" fmla="*/ 6 h 540"/>
                <a:gd name="T8" fmla="*/ 1094 w 1174"/>
                <a:gd name="T9" fmla="*/ 8 h 540"/>
                <a:gd name="T10" fmla="*/ 1137 w 1174"/>
                <a:gd name="T11" fmla="*/ 27 h 540"/>
                <a:gd name="T12" fmla="*/ 1073 w 1174"/>
                <a:gd name="T13" fmla="*/ 101 h 540"/>
                <a:gd name="T14" fmla="*/ 1039 w 1174"/>
                <a:gd name="T15" fmla="*/ 162 h 540"/>
                <a:gd name="T16" fmla="*/ 1090 w 1174"/>
                <a:gd name="T17" fmla="*/ 207 h 540"/>
                <a:gd name="T18" fmla="*/ 1154 w 1174"/>
                <a:gd name="T19" fmla="*/ 198 h 540"/>
                <a:gd name="T20" fmla="*/ 1171 w 1174"/>
                <a:gd name="T21" fmla="*/ 243 h 540"/>
                <a:gd name="T22" fmla="*/ 1126 w 1174"/>
                <a:gd name="T23" fmla="*/ 346 h 540"/>
                <a:gd name="T24" fmla="*/ 1104 w 1174"/>
                <a:gd name="T25" fmla="*/ 380 h 540"/>
                <a:gd name="T26" fmla="*/ 1118 w 1174"/>
                <a:gd name="T27" fmla="*/ 461 h 540"/>
                <a:gd name="T28" fmla="*/ 1039 w 1174"/>
                <a:gd name="T29" fmla="*/ 478 h 540"/>
                <a:gd name="T30" fmla="*/ 1008 w 1174"/>
                <a:gd name="T31" fmla="*/ 416 h 540"/>
                <a:gd name="T32" fmla="*/ 933 w 1174"/>
                <a:gd name="T33" fmla="*/ 416 h 540"/>
                <a:gd name="T34" fmla="*/ 842 w 1174"/>
                <a:gd name="T35" fmla="*/ 390 h 540"/>
                <a:gd name="T36" fmla="*/ 694 w 1174"/>
                <a:gd name="T37" fmla="*/ 413 h 540"/>
                <a:gd name="T38" fmla="*/ 660 w 1174"/>
                <a:gd name="T39" fmla="*/ 457 h 540"/>
                <a:gd name="T40" fmla="*/ 602 w 1174"/>
                <a:gd name="T41" fmla="*/ 486 h 540"/>
                <a:gd name="T42" fmla="*/ 513 w 1174"/>
                <a:gd name="T43" fmla="*/ 464 h 540"/>
                <a:gd name="T44" fmla="*/ 381 w 1174"/>
                <a:gd name="T45" fmla="*/ 536 h 540"/>
                <a:gd name="T46" fmla="*/ 271 w 1174"/>
                <a:gd name="T47" fmla="*/ 514 h 540"/>
                <a:gd name="T48" fmla="*/ 207 w 1174"/>
                <a:gd name="T49" fmla="*/ 492 h 540"/>
                <a:gd name="T50" fmla="*/ 151 w 1174"/>
                <a:gd name="T51" fmla="*/ 504 h 540"/>
                <a:gd name="T52" fmla="*/ 99 w 1174"/>
                <a:gd name="T53" fmla="*/ 500 h 540"/>
                <a:gd name="T54" fmla="*/ 62 w 1174"/>
                <a:gd name="T55" fmla="*/ 507 h 540"/>
                <a:gd name="T56" fmla="*/ 9 w 1174"/>
                <a:gd name="T57" fmla="*/ 514 h 540"/>
                <a:gd name="T58" fmla="*/ 62 w 1174"/>
                <a:gd name="T59" fmla="*/ 462 h 540"/>
                <a:gd name="T60" fmla="*/ 36 w 1174"/>
                <a:gd name="T61" fmla="*/ 418 h 540"/>
                <a:gd name="T62" fmla="*/ 87 w 1174"/>
                <a:gd name="T63" fmla="*/ 409 h 540"/>
                <a:gd name="T64" fmla="*/ 170 w 1174"/>
                <a:gd name="T65" fmla="*/ 353 h 540"/>
                <a:gd name="T66" fmla="*/ 154 w 1174"/>
                <a:gd name="T67" fmla="*/ 262 h 540"/>
                <a:gd name="T68" fmla="*/ 190 w 1174"/>
                <a:gd name="T69" fmla="*/ 204 h 540"/>
                <a:gd name="T70" fmla="*/ 194 w 1174"/>
                <a:gd name="T71" fmla="*/ 171 h 540"/>
                <a:gd name="T72" fmla="*/ 247 w 1174"/>
                <a:gd name="T73" fmla="*/ 185 h 540"/>
                <a:gd name="T74" fmla="*/ 245 w 1174"/>
                <a:gd name="T75" fmla="*/ 138 h 540"/>
                <a:gd name="T76" fmla="*/ 252 w 1174"/>
                <a:gd name="T77" fmla="*/ 89 h 540"/>
                <a:gd name="T78" fmla="*/ 310 w 1174"/>
                <a:gd name="T79" fmla="*/ 68 h 540"/>
                <a:gd name="T80" fmla="*/ 319 w 1174"/>
                <a:gd name="T81" fmla="*/ 18 h 540"/>
                <a:gd name="T82" fmla="*/ 358 w 1174"/>
                <a:gd name="T83" fmla="*/ 22 h 540"/>
                <a:gd name="T84" fmla="*/ 417 w 1174"/>
                <a:gd name="T85" fmla="*/ 49 h 540"/>
                <a:gd name="T86" fmla="*/ 463 w 1174"/>
                <a:gd name="T87" fmla="*/ 80 h 540"/>
                <a:gd name="T88" fmla="*/ 528 w 1174"/>
                <a:gd name="T89" fmla="*/ 92 h 540"/>
                <a:gd name="T90" fmla="*/ 557 w 1174"/>
                <a:gd name="T91" fmla="*/ 82 h 540"/>
                <a:gd name="T92" fmla="*/ 597 w 1174"/>
                <a:gd name="T93" fmla="*/ 60 h 540"/>
                <a:gd name="T94" fmla="*/ 646 w 1174"/>
                <a:gd name="T95" fmla="*/ 60 h 540"/>
                <a:gd name="T96" fmla="*/ 749 w 1174"/>
                <a:gd name="T97" fmla="*/ 58 h 540"/>
                <a:gd name="T98" fmla="*/ 833 w 1174"/>
                <a:gd name="T99" fmla="*/ 41 h 540"/>
                <a:gd name="T100" fmla="*/ 890 w 1174"/>
                <a:gd name="T101" fmla="*/ 34 h 540"/>
                <a:gd name="T102" fmla="*/ 924 w 1174"/>
                <a:gd name="T103" fmla="*/ 18 h 54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174"/>
                <a:gd name="T157" fmla="*/ 0 h 540"/>
                <a:gd name="T158" fmla="*/ 1174 w 1174"/>
                <a:gd name="T159" fmla="*/ 540 h 54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174" h="540">
                  <a:moveTo>
                    <a:pt x="984" y="18"/>
                  </a:moveTo>
                  <a:lnTo>
                    <a:pt x="989" y="32"/>
                  </a:lnTo>
                  <a:lnTo>
                    <a:pt x="1006" y="18"/>
                  </a:lnTo>
                  <a:lnTo>
                    <a:pt x="1023" y="41"/>
                  </a:lnTo>
                  <a:lnTo>
                    <a:pt x="1044" y="36"/>
                  </a:lnTo>
                  <a:lnTo>
                    <a:pt x="1059" y="51"/>
                  </a:lnTo>
                  <a:lnTo>
                    <a:pt x="1075" y="37"/>
                  </a:lnTo>
                  <a:lnTo>
                    <a:pt x="1073" y="6"/>
                  </a:lnTo>
                  <a:lnTo>
                    <a:pt x="1087" y="0"/>
                  </a:lnTo>
                  <a:lnTo>
                    <a:pt x="1094" y="8"/>
                  </a:lnTo>
                  <a:lnTo>
                    <a:pt x="1130" y="10"/>
                  </a:lnTo>
                  <a:lnTo>
                    <a:pt x="1137" y="27"/>
                  </a:lnTo>
                  <a:lnTo>
                    <a:pt x="1095" y="90"/>
                  </a:lnTo>
                  <a:lnTo>
                    <a:pt x="1073" y="101"/>
                  </a:lnTo>
                  <a:lnTo>
                    <a:pt x="1075" y="128"/>
                  </a:lnTo>
                  <a:lnTo>
                    <a:pt x="1039" y="162"/>
                  </a:lnTo>
                  <a:lnTo>
                    <a:pt x="1059" y="198"/>
                  </a:lnTo>
                  <a:lnTo>
                    <a:pt x="1090" y="207"/>
                  </a:lnTo>
                  <a:lnTo>
                    <a:pt x="1126" y="183"/>
                  </a:lnTo>
                  <a:lnTo>
                    <a:pt x="1154" y="198"/>
                  </a:lnTo>
                  <a:lnTo>
                    <a:pt x="1174" y="212"/>
                  </a:lnTo>
                  <a:lnTo>
                    <a:pt x="1171" y="243"/>
                  </a:lnTo>
                  <a:lnTo>
                    <a:pt x="1123" y="308"/>
                  </a:lnTo>
                  <a:lnTo>
                    <a:pt x="1126" y="346"/>
                  </a:lnTo>
                  <a:lnTo>
                    <a:pt x="1133" y="363"/>
                  </a:lnTo>
                  <a:lnTo>
                    <a:pt x="1104" y="380"/>
                  </a:lnTo>
                  <a:lnTo>
                    <a:pt x="1095" y="435"/>
                  </a:lnTo>
                  <a:lnTo>
                    <a:pt x="1118" y="461"/>
                  </a:lnTo>
                  <a:lnTo>
                    <a:pt x="1075" y="502"/>
                  </a:lnTo>
                  <a:lnTo>
                    <a:pt x="1039" y="478"/>
                  </a:lnTo>
                  <a:lnTo>
                    <a:pt x="1025" y="426"/>
                  </a:lnTo>
                  <a:lnTo>
                    <a:pt x="1008" y="416"/>
                  </a:lnTo>
                  <a:lnTo>
                    <a:pt x="955" y="442"/>
                  </a:lnTo>
                  <a:lnTo>
                    <a:pt x="933" y="416"/>
                  </a:lnTo>
                  <a:lnTo>
                    <a:pt x="897" y="416"/>
                  </a:lnTo>
                  <a:lnTo>
                    <a:pt x="842" y="390"/>
                  </a:lnTo>
                  <a:lnTo>
                    <a:pt x="718" y="385"/>
                  </a:lnTo>
                  <a:lnTo>
                    <a:pt x="694" y="413"/>
                  </a:lnTo>
                  <a:lnTo>
                    <a:pt x="694" y="430"/>
                  </a:lnTo>
                  <a:lnTo>
                    <a:pt x="660" y="457"/>
                  </a:lnTo>
                  <a:lnTo>
                    <a:pt x="641" y="450"/>
                  </a:lnTo>
                  <a:lnTo>
                    <a:pt x="602" y="486"/>
                  </a:lnTo>
                  <a:lnTo>
                    <a:pt x="554" y="456"/>
                  </a:lnTo>
                  <a:lnTo>
                    <a:pt x="513" y="464"/>
                  </a:lnTo>
                  <a:lnTo>
                    <a:pt x="408" y="505"/>
                  </a:lnTo>
                  <a:lnTo>
                    <a:pt x="381" y="536"/>
                  </a:lnTo>
                  <a:lnTo>
                    <a:pt x="315" y="540"/>
                  </a:lnTo>
                  <a:lnTo>
                    <a:pt x="271" y="514"/>
                  </a:lnTo>
                  <a:lnTo>
                    <a:pt x="249" y="481"/>
                  </a:lnTo>
                  <a:lnTo>
                    <a:pt x="207" y="492"/>
                  </a:lnTo>
                  <a:lnTo>
                    <a:pt x="180" y="516"/>
                  </a:lnTo>
                  <a:lnTo>
                    <a:pt x="151" y="504"/>
                  </a:lnTo>
                  <a:lnTo>
                    <a:pt x="115" y="514"/>
                  </a:lnTo>
                  <a:lnTo>
                    <a:pt x="99" y="500"/>
                  </a:lnTo>
                  <a:lnTo>
                    <a:pt x="84" y="528"/>
                  </a:lnTo>
                  <a:lnTo>
                    <a:pt x="62" y="507"/>
                  </a:lnTo>
                  <a:lnTo>
                    <a:pt x="50" y="524"/>
                  </a:lnTo>
                  <a:lnTo>
                    <a:pt x="9" y="514"/>
                  </a:lnTo>
                  <a:lnTo>
                    <a:pt x="0" y="462"/>
                  </a:lnTo>
                  <a:lnTo>
                    <a:pt x="62" y="462"/>
                  </a:lnTo>
                  <a:lnTo>
                    <a:pt x="62" y="450"/>
                  </a:lnTo>
                  <a:lnTo>
                    <a:pt x="36" y="418"/>
                  </a:lnTo>
                  <a:lnTo>
                    <a:pt x="57" y="384"/>
                  </a:lnTo>
                  <a:lnTo>
                    <a:pt x="87" y="409"/>
                  </a:lnTo>
                  <a:lnTo>
                    <a:pt x="130" y="392"/>
                  </a:lnTo>
                  <a:lnTo>
                    <a:pt x="170" y="353"/>
                  </a:lnTo>
                  <a:lnTo>
                    <a:pt x="151" y="293"/>
                  </a:lnTo>
                  <a:lnTo>
                    <a:pt x="154" y="262"/>
                  </a:lnTo>
                  <a:lnTo>
                    <a:pt x="177" y="245"/>
                  </a:lnTo>
                  <a:lnTo>
                    <a:pt x="190" y="204"/>
                  </a:lnTo>
                  <a:lnTo>
                    <a:pt x="177" y="183"/>
                  </a:lnTo>
                  <a:lnTo>
                    <a:pt x="194" y="171"/>
                  </a:lnTo>
                  <a:lnTo>
                    <a:pt x="216" y="192"/>
                  </a:lnTo>
                  <a:lnTo>
                    <a:pt x="247" y="185"/>
                  </a:lnTo>
                  <a:lnTo>
                    <a:pt x="233" y="152"/>
                  </a:lnTo>
                  <a:lnTo>
                    <a:pt x="245" y="138"/>
                  </a:lnTo>
                  <a:lnTo>
                    <a:pt x="228" y="114"/>
                  </a:lnTo>
                  <a:lnTo>
                    <a:pt x="252" y="89"/>
                  </a:lnTo>
                  <a:lnTo>
                    <a:pt x="283" y="102"/>
                  </a:lnTo>
                  <a:lnTo>
                    <a:pt x="310" y="68"/>
                  </a:lnTo>
                  <a:lnTo>
                    <a:pt x="298" y="58"/>
                  </a:lnTo>
                  <a:lnTo>
                    <a:pt x="319" y="18"/>
                  </a:lnTo>
                  <a:lnTo>
                    <a:pt x="351" y="8"/>
                  </a:lnTo>
                  <a:lnTo>
                    <a:pt x="358" y="22"/>
                  </a:lnTo>
                  <a:lnTo>
                    <a:pt x="387" y="22"/>
                  </a:lnTo>
                  <a:lnTo>
                    <a:pt x="417" y="49"/>
                  </a:lnTo>
                  <a:lnTo>
                    <a:pt x="437" y="42"/>
                  </a:lnTo>
                  <a:lnTo>
                    <a:pt x="463" y="80"/>
                  </a:lnTo>
                  <a:lnTo>
                    <a:pt x="504" y="68"/>
                  </a:lnTo>
                  <a:lnTo>
                    <a:pt x="528" y="92"/>
                  </a:lnTo>
                  <a:lnTo>
                    <a:pt x="542" y="53"/>
                  </a:lnTo>
                  <a:lnTo>
                    <a:pt x="557" y="82"/>
                  </a:lnTo>
                  <a:lnTo>
                    <a:pt x="588" y="80"/>
                  </a:lnTo>
                  <a:lnTo>
                    <a:pt x="597" y="60"/>
                  </a:lnTo>
                  <a:lnTo>
                    <a:pt x="634" y="87"/>
                  </a:lnTo>
                  <a:lnTo>
                    <a:pt x="646" y="60"/>
                  </a:lnTo>
                  <a:lnTo>
                    <a:pt x="706" y="36"/>
                  </a:lnTo>
                  <a:lnTo>
                    <a:pt x="749" y="58"/>
                  </a:lnTo>
                  <a:lnTo>
                    <a:pt x="799" y="12"/>
                  </a:lnTo>
                  <a:lnTo>
                    <a:pt x="833" y="41"/>
                  </a:lnTo>
                  <a:lnTo>
                    <a:pt x="847" y="63"/>
                  </a:lnTo>
                  <a:lnTo>
                    <a:pt x="890" y="34"/>
                  </a:lnTo>
                  <a:lnTo>
                    <a:pt x="910" y="41"/>
                  </a:lnTo>
                  <a:lnTo>
                    <a:pt x="924" y="18"/>
                  </a:lnTo>
                  <a:lnTo>
                    <a:pt x="984" y="18"/>
                  </a:lnTo>
                  <a:close/>
                </a:path>
              </a:pathLst>
            </a:custGeom>
            <a:solidFill>
              <a:srgbClr val="EEA420"/>
            </a:solidFill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2739" y="1948"/>
              <a:ext cx="208" cy="218"/>
            </a:xfrm>
            <a:custGeom>
              <a:avLst/>
              <a:gdLst>
                <a:gd name="T0" fmla="*/ 0 w 222"/>
                <a:gd name="T1" fmla="*/ 142 h 212"/>
                <a:gd name="T2" fmla="*/ 34 w 222"/>
                <a:gd name="T3" fmla="*/ 96 h 212"/>
                <a:gd name="T4" fmla="*/ 28 w 222"/>
                <a:gd name="T5" fmla="*/ 64 h 212"/>
                <a:gd name="T6" fmla="*/ 50 w 222"/>
                <a:gd name="T7" fmla="*/ 42 h 212"/>
                <a:gd name="T8" fmla="*/ 56 w 222"/>
                <a:gd name="T9" fmla="*/ 28 h 212"/>
                <a:gd name="T10" fmla="*/ 72 w 222"/>
                <a:gd name="T11" fmla="*/ 26 h 212"/>
                <a:gd name="T12" fmla="*/ 96 w 222"/>
                <a:gd name="T13" fmla="*/ 4 h 212"/>
                <a:gd name="T14" fmla="*/ 160 w 222"/>
                <a:gd name="T15" fmla="*/ 0 h 212"/>
                <a:gd name="T16" fmla="*/ 180 w 222"/>
                <a:gd name="T17" fmla="*/ 24 h 212"/>
                <a:gd name="T18" fmla="*/ 174 w 222"/>
                <a:gd name="T19" fmla="*/ 54 h 212"/>
                <a:gd name="T20" fmla="*/ 220 w 222"/>
                <a:gd name="T21" fmla="*/ 106 h 212"/>
                <a:gd name="T22" fmla="*/ 222 w 222"/>
                <a:gd name="T23" fmla="*/ 166 h 212"/>
                <a:gd name="T24" fmla="*/ 198 w 222"/>
                <a:gd name="T25" fmla="*/ 194 h 212"/>
                <a:gd name="T26" fmla="*/ 170 w 222"/>
                <a:gd name="T27" fmla="*/ 186 h 212"/>
                <a:gd name="T28" fmla="*/ 142 w 222"/>
                <a:gd name="T29" fmla="*/ 206 h 212"/>
                <a:gd name="T30" fmla="*/ 116 w 222"/>
                <a:gd name="T31" fmla="*/ 212 h 212"/>
                <a:gd name="T32" fmla="*/ 96 w 222"/>
                <a:gd name="T33" fmla="*/ 186 h 212"/>
                <a:gd name="T34" fmla="*/ 78 w 222"/>
                <a:gd name="T35" fmla="*/ 188 h 212"/>
                <a:gd name="T36" fmla="*/ 64 w 222"/>
                <a:gd name="T37" fmla="*/ 166 h 212"/>
                <a:gd name="T38" fmla="*/ 66 w 222"/>
                <a:gd name="T39" fmla="*/ 150 h 212"/>
                <a:gd name="T40" fmla="*/ 58 w 222"/>
                <a:gd name="T41" fmla="*/ 136 h 212"/>
                <a:gd name="T42" fmla="*/ 36 w 222"/>
                <a:gd name="T43" fmla="*/ 142 h 212"/>
                <a:gd name="T44" fmla="*/ 22 w 222"/>
                <a:gd name="T45" fmla="*/ 156 h 212"/>
                <a:gd name="T46" fmla="*/ 8 w 222"/>
                <a:gd name="T47" fmla="*/ 158 h 212"/>
                <a:gd name="T48" fmla="*/ 0 w 222"/>
                <a:gd name="T49" fmla="*/ 142 h 21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22"/>
                <a:gd name="T76" fmla="*/ 0 h 212"/>
                <a:gd name="T77" fmla="*/ 222 w 222"/>
                <a:gd name="T78" fmla="*/ 212 h 21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22" h="212">
                  <a:moveTo>
                    <a:pt x="0" y="142"/>
                  </a:moveTo>
                  <a:lnTo>
                    <a:pt x="34" y="96"/>
                  </a:lnTo>
                  <a:lnTo>
                    <a:pt x="28" y="64"/>
                  </a:lnTo>
                  <a:lnTo>
                    <a:pt x="50" y="42"/>
                  </a:lnTo>
                  <a:lnTo>
                    <a:pt x="56" y="28"/>
                  </a:lnTo>
                  <a:lnTo>
                    <a:pt x="72" y="26"/>
                  </a:lnTo>
                  <a:lnTo>
                    <a:pt x="96" y="4"/>
                  </a:lnTo>
                  <a:lnTo>
                    <a:pt x="160" y="0"/>
                  </a:lnTo>
                  <a:lnTo>
                    <a:pt x="180" y="24"/>
                  </a:lnTo>
                  <a:lnTo>
                    <a:pt x="174" y="54"/>
                  </a:lnTo>
                  <a:lnTo>
                    <a:pt x="220" y="106"/>
                  </a:lnTo>
                  <a:lnTo>
                    <a:pt x="222" y="166"/>
                  </a:lnTo>
                  <a:lnTo>
                    <a:pt x="198" y="194"/>
                  </a:lnTo>
                  <a:lnTo>
                    <a:pt x="170" y="186"/>
                  </a:lnTo>
                  <a:lnTo>
                    <a:pt x="142" y="206"/>
                  </a:lnTo>
                  <a:lnTo>
                    <a:pt x="116" y="212"/>
                  </a:lnTo>
                  <a:lnTo>
                    <a:pt x="96" y="186"/>
                  </a:lnTo>
                  <a:lnTo>
                    <a:pt x="78" y="188"/>
                  </a:lnTo>
                  <a:lnTo>
                    <a:pt x="64" y="166"/>
                  </a:lnTo>
                  <a:lnTo>
                    <a:pt x="66" y="150"/>
                  </a:lnTo>
                  <a:lnTo>
                    <a:pt x="58" y="136"/>
                  </a:lnTo>
                  <a:lnTo>
                    <a:pt x="36" y="142"/>
                  </a:lnTo>
                  <a:lnTo>
                    <a:pt x="22" y="156"/>
                  </a:lnTo>
                  <a:lnTo>
                    <a:pt x="8" y="158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EEA420"/>
            </a:solidFill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3383" y="1338"/>
              <a:ext cx="743" cy="886"/>
            </a:xfrm>
            <a:custGeom>
              <a:avLst/>
              <a:gdLst>
                <a:gd name="T0" fmla="*/ 234 w 792"/>
                <a:gd name="T1" fmla="*/ 42 h 860"/>
                <a:gd name="T2" fmla="*/ 416 w 792"/>
                <a:gd name="T3" fmla="*/ 44 h 860"/>
                <a:gd name="T4" fmla="*/ 456 w 792"/>
                <a:gd name="T5" fmla="*/ 0 h 860"/>
                <a:gd name="T6" fmla="*/ 486 w 792"/>
                <a:gd name="T7" fmla="*/ 0 h 860"/>
                <a:gd name="T8" fmla="*/ 518 w 792"/>
                <a:gd name="T9" fmla="*/ 56 h 860"/>
                <a:gd name="T10" fmla="*/ 518 w 792"/>
                <a:gd name="T11" fmla="*/ 88 h 860"/>
                <a:gd name="T12" fmla="*/ 790 w 792"/>
                <a:gd name="T13" fmla="*/ 226 h 860"/>
                <a:gd name="T14" fmla="*/ 792 w 792"/>
                <a:gd name="T15" fmla="*/ 262 h 860"/>
                <a:gd name="T16" fmla="*/ 654 w 792"/>
                <a:gd name="T17" fmla="*/ 566 h 860"/>
                <a:gd name="T18" fmla="*/ 650 w 792"/>
                <a:gd name="T19" fmla="*/ 714 h 860"/>
                <a:gd name="T20" fmla="*/ 618 w 792"/>
                <a:gd name="T21" fmla="*/ 736 h 860"/>
                <a:gd name="T22" fmla="*/ 612 w 792"/>
                <a:gd name="T23" fmla="*/ 758 h 860"/>
                <a:gd name="T24" fmla="*/ 584 w 792"/>
                <a:gd name="T25" fmla="*/ 756 h 860"/>
                <a:gd name="T26" fmla="*/ 576 w 792"/>
                <a:gd name="T27" fmla="*/ 740 h 860"/>
                <a:gd name="T28" fmla="*/ 496 w 792"/>
                <a:gd name="T29" fmla="*/ 778 h 860"/>
                <a:gd name="T30" fmla="*/ 468 w 792"/>
                <a:gd name="T31" fmla="*/ 824 h 860"/>
                <a:gd name="T32" fmla="*/ 442 w 792"/>
                <a:gd name="T33" fmla="*/ 810 h 860"/>
                <a:gd name="T34" fmla="*/ 410 w 792"/>
                <a:gd name="T35" fmla="*/ 836 h 860"/>
                <a:gd name="T36" fmla="*/ 338 w 792"/>
                <a:gd name="T37" fmla="*/ 786 h 860"/>
                <a:gd name="T38" fmla="*/ 300 w 792"/>
                <a:gd name="T39" fmla="*/ 826 h 860"/>
                <a:gd name="T40" fmla="*/ 240 w 792"/>
                <a:gd name="T41" fmla="*/ 840 h 860"/>
                <a:gd name="T42" fmla="*/ 194 w 792"/>
                <a:gd name="T43" fmla="*/ 830 h 860"/>
                <a:gd name="T44" fmla="*/ 162 w 792"/>
                <a:gd name="T45" fmla="*/ 860 h 860"/>
                <a:gd name="T46" fmla="*/ 118 w 792"/>
                <a:gd name="T47" fmla="*/ 832 h 860"/>
                <a:gd name="T48" fmla="*/ 130 w 792"/>
                <a:gd name="T49" fmla="*/ 810 h 860"/>
                <a:gd name="T50" fmla="*/ 112 w 792"/>
                <a:gd name="T51" fmla="*/ 784 h 860"/>
                <a:gd name="T52" fmla="*/ 122 w 792"/>
                <a:gd name="T53" fmla="*/ 728 h 860"/>
                <a:gd name="T54" fmla="*/ 150 w 792"/>
                <a:gd name="T55" fmla="*/ 716 h 860"/>
                <a:gd name="T56" fmla="*/ 142 w 792"/>
                <a:gd name="T57" fmla="*/ 658 h 860"/>
                <a:gd name="T58" fmla="*/ 188 w 792"/>
                <a:gd name="T59" fmla="*/ 596 h 860"/>
                <a:gd name="T60" fmla="*/ 190 w 792"/>
                <a:gd name="T61" fmla="*/ 560 h 860"/>
                <a:gd name="T62" fmla="*/ 142 w 792"/>
                <a:gd name="T63" fmla="*/ 542 h 860"/>
                <a:gd name="T64" fmla="*/ 108 w 792"/>
                <a:gd name="T65" fmla="*/ 564 h 860"/>
                <a:gd name="T66" fmla="*/ 74 w 792"/>
                <a:gd name="T67" fmla="*/ 554 h 860"/>
                <a:gd name="T68" fmla="*/ 52 w 792"/>
                <a:gd name="T69" fmla="*/ 512 h 860"/>
                <a:gd name="T70" fmla="*/ 86 w 792"/>
                <a:gd name="T71" fmla="*/ 478 h 860"/>
                <a:gd name="T72" fmla="*/ 84 w 792"/>
                <a:gd name="T73" fmla="*/ 450 h 860"/>
                <a:gd name="T74" fmla="*/ 114 w 792"/>
                <a:gd name="T75" fmla="*/ 438 h 860"/>
                <a:gd name="T76" fmla="*/ 148 w 792"/>
                <a:gd name="T77" fmla="*/ 382 h 860"/>
                <a:gd name="T78" fmla="*/ 142 w 792"/>
                <a:gd name="T79" fmla="*/ 364 h 860"/>
                <a:gd name="T80" fmla="*/ 114 w 792"/>
                <a:gd name="T81" fmla="*/ 366 h 860"/>
                <a:gd name="T82" fmla="*/ 94 w 792"/>
                <a:gd name="T83" fmla="*/ 354 h 860"/>
                <a:gd name="T84" fmla="*/ 90 w 792"/>
                <a:gd name="T85" fmla="*/ 378 h 860"/>
                <a:gd name="T86" fmla="*/ 86 w 792"/>
                <a:gd name="T87" fmla="*/ 402 h 860"/>
                <a:gd name="T88" fmla="*/ 60 w 792"/>
                <a:gd name="T89" fmla="*/ 388 h 860"/>
                <a:gd name="T90" fmla="*/ 42 w 792"/>
                <a:gd name="T91" fmla="*/ 396 h 860"/>
                <a:gd name="T92" fmla="*/ 20 w 792"/>
                <a:gd name="T93" fmla="*/ 376 h 860"/>
                <a:gd name="T94" fmla="*/ 0 w 792"/>
                <a:gd name="T95" fmla="*/ 382 h 860"/>
                <a:gd name="T96" fmla="*/ 0 w 792"/>
                <a:gd name="T97" fmla="*/ 354 h 860"/>
                <a:gd name="T98" fmla="*/ 30 w 792"/>
                <a:gd name="T99" fmla="*/ 318 h 860"/>
                <a:gd name="T100" fmla="*/ 54 w 792"/>
                <a:gd name="T101" fmla="*/ 322 h 860"/>
                <a:gd name="T102" fmla="*/ 90 w 792"/>
                <a:gd name="T103" fmla="*/ 302 h 860"/>
                <a:gd name="T104" fmla="*/ 132 w 792"/>
                <a:gd name="T105" fmla="*/ 248 h 860"/>
                <a:gd name="T106" fmla="*/ 186 w 792"/>
                <a:gd name="T107" fmla="*/ 258 h 860"/>
                <a:gd name="T108" fmla="*/ 214 w 792"/>
                <a:gd name="T109" fmla="*/ 222 h 860"/>
                <a:gd name="T110" fmla="*/ 240 w 792"/>
                <a:gd name="T111" fmla="*/ 228 h 860"/>
                <a:gd name="T112" fmla="*/ 264 w 792"/>
                <a:gd name="T113" fmla="*/ 204 h 860"/>
                <a:gd name="T114" fmla="*/ 260 w 792"/>
                <a:gd name="T115" fmla="*/ 164 h 860"/>
                <a:gd name="T116" fmla="*/ 208 w 792"/>
                <a:gd name="T117" fmla="*/ 118 h 860"/>
                <a:gd name="T118" fmla="*/ 234 w 792"/>
                <a:gd name="T119" fmla="*/ 42 h 86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92"/>
                <a:gd name="T181" fmla="*/ 0 h 860"/>
                <a:gd name="T182" fmla="*/ 792 w 792"/>
                <a:gd name="T183" fmla="*/ 860 h 86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92" h="860">
                  <a:moveTo>
                    <a:pt x="234" y="42"/>
                  </a:moveTo>
                  <a:lnTo>
                    <a:pt x="416" y="44"/>
                  </a:lnTo>
                  <a:lnTo>
                    <a:pt x="456" y="0"/>
                  </a:lnTo>
                  <a:lnTo>
                    <a:pt x="486" y="0"/>
                  </a:lnTo>
                  <a:lnTo>
                    <a:pt x="518" y="56"/>
                  </a:lnTo>
                  <a:lnTo>
                    <a:pt x="518" y="88"/>
                  </a:lnTo>
                  <a:lnTo>
                    <a:pt x="790" y="226"/>
                  </a:lnTo>
                  <a:lnTo>
                    <a:pt x="792" y="262"/>
                  </a:lnTo>
                  <a:lnTo>
                    <a:pt x="654" y="566"/>
                  </a:lnTo>
                  <a:lnTo>
                    <a:pt x="650" y="714"/>
                  </a:lnTo>
                  <a:lnTo>
                    <a:pt x="618" y="736"/>
                  </a:lnTo>
                  <a:lnTo>
                    <a:pt x="612" y="758"/>
                  </a:lnTo>
                  <a:lnTo>
                    <a:pt x="584" y="756"/>
                  </a:lnTo>
                  <a:lnTo>
                    <a:pt x="576" y="740"/>
                  </a:lnTo>
                  <a:lnTo>
                    <a:pt x="496" y="778"/>
                  </a:lnTo>
                  <a:lnTo>
                    <a:pt x="468" y="824"/>
                  </a:lnTo>
                  <a:lnTo>
                    <a:pt x="442" y="810"/>
                  </a:lnTo>
                  <a:lnTo>
                    <a:pt x="410" y="836"/>
                  </a:lnTo>
                  <a:lnTo>
                    <a:pt x="338" y="786"/>
                  </a:lnTo>
                  <a:lnTo>
                    <a:pt x="300" y="826"/>
                  </a:lnTo>
                  <a:lnTo>
                    <a:pt x="240" y="840"/>
                  </a:lnTo>
                  <a:lnTo>
                    <a:pt x="194" y="830"/>
                  </a:lnTo>
                  <a:lnTo>
                    <a:pt x="162" y="860"/>
                  </a:lnTo>
                  <a:lnTo>
                    <a:pt x="118" y="832"/>
                  </a:lnTo>
                  <a:lnTo>
                    <a:pt x="130" y="810"/>
                  </a:lnTo>
                  <a:lnTo>
                    <a:pt x="112" y="784"/>
                  </a:lnTo>
                  <a:lnTo>
                    <a:pt x="122" y="728"/>
                  </a:lnTo>
                  <a:lnTo>
                    <a:pt x="150" y="716"/>
                  </a:lnTo>
                  <a:lnTo>
                    <a:pt x="142" y="658"/>
                  </a:lnTo>
                  <a:lnTo>
                    <a:pt x="188" y="596"/>
                  </a:lnTo>
                  <a:lnTo>
                    <a:pt x="190" y="560"/>
                  </a:lnTo>
                  <a:lnTo>
                    <a:pt x="142" y="542"/>
                  </a:lnTo>
                  <a:lnTo>
                    <a:pt x="108" y="564"/>
                  </a:lnTo>
                  <a:lnTo>
                    <a:pt x="74" y="554"/>
                  </a:lnTo>
                  <a:lnTo>
                    <a:pt x="52" y="512"/>
                  </a:lnTo>
                  <a:lnTo>
                    <a:pt x="86" y="478"/>
                  </a:lnTo>
                  <a:lnTo>
                    <a:pt x="84" y="450"/>
                  </a:lnTo>
                  <a:lnTo>
                    <a:pt x="114" y="438"/>
                  </a:lnTo>
                  <a:lnTo>
                    <a:pt x="148" y="382"/>
                  </a:lnTo>
                  <a:lnTo>
                    <a:pt x="142" y="364"/>
                  </a:lnTo>
                  <a:lnTo>
                    <a:pt x="114" y="366"/>
                  </a:lnTo>
                  <a:lnTo>
                    <a:pt x="94" y="354"/>
                  </a:lnTo>
                  <a:lnTo>
                    <a:pt x="90" y="378"/>
                  </a:lnTo>
                  <a:lnTo>
                    <a:pt x="86" y="402"/>
                  </a:lnTo>
                  <a:lnTo>
                    <a:pt x="60" y="388"/>
                  </a:lnTo>
                  <a:lnTo>
                    <a:pt x="42" y="396"/>
                  </a:lnTo>
                  <a:lnTo>
                    <a:pt x="20" y="376"/>
                  </a:lnTo>
                  <a:lnTo>
                    <a:pt x="0" y="382"/>
                  </a:lnTo>
                  <a:lnTo>
                    <a:pt x="0" y="354"/>
                  </a:lnTo>
                  <a:lnTo>
                    <a:pt x="30" y="318"/>
                  </a:lnTo>
                  <a:lnTo>
                    <a:pt x="54" y="322"/>
                  </a:lnTo>
                  <a:lnTo>
                    <a:pt x="90" y="302"/>
                  </a:lnTo>
                  <a:lnTo>
                    <a:pt x="132" y="248"/>
                  </a:lnTo>
                  <a:lnTo>
                    <a:pt x="186" y="258"/>
                  </a:lnTo>
                  <a:lnTo>
                    <a:pt x="214" y="222"/>
                  </a:lnTo>
                  <a:lnTo>
                    <a:pt x="240" y="228"/>
                  </a:lnTo>
                  <a:lnTo>
                    <a:pt x="264" y="204"/>
                  </a:lnTo>
                  <a:lnTo>
                    <a:pt x="260" y="164"/>
                  </a:lnTo>
                  <a:lnTo>
                    <a:pt x="208" y="118"/>
                  </a:lnTo>
                  <a:lnTo>
                    <a:pt x="234" y="42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3386" y="2073"/>
              <a:ext cx="1159" cy="933"/>
            </a:xfrm>
            <a:custGeom>
              <a:avLst/>
              <a:gdLst>
                <a:gd name="T0" fmla="*/ 10 w 1234"/>
                <a:gd name="T1" fmla="*/ 114 h 906"/>
                <a:gd name="T2" fmla="*/ 12 w 1234"/>
                <a:gd name="T3" fmla="*/ 164 h 906"/>
                <a:gd name="T4" fmla="*/ 4 w 1234"/>
                <a:gd name="T5" fmla="*/ 228 h 906"/>
                <a:gd name="T6" fmla="*/ 46 w 1234"/>
                <a:gd name="T7" fmla="*/ 304 h 906"/>
                <a:gd name="T8" fmla="*/ 64 w 1234"/>
                <a:gd name="T9" fmla="*/ 388 h 906"/>
                <a:gd name="T10" fmla="*/ 138 w 1234"/>
                <a:gd name="T11" fmla="*/ 442 h 906"/>
                <a:gd name="T12" fmla="*/ 192 w 1234"/>
                <a:gd name="T13" fmla="*/ 466 h 906"/>
                <a:gd name="T14" fmla="*/ 212 w 1234"/>
                <a:gd name="T15" fmla="*/ 510 h 906"/>
                <a:gd name="T16" fmla="*/ 208 w 1234"/>
                <a:gd name="T17" fmla="*/ 558 h 906"/>
                <a:gd name="T18" fmla="*/ 252 w 1234"/>
                <a:gd name="T19" fmla="*/ 576 h 906"/>
                <a:gd name="T20" fmla="*/ 278 w 1234"/>
                <a:gd name="T21" fmla="*/ 630 h 906"/>
                <a:gd name="T22" fmla="*/ 376 w 1234"/>
                <a:gd name="T23" fmla="*/ 604 h 906"/>
                <a:gd name="T24" fmla="*/ 382 w 1234"/>
                <a:gd name="T25" fmla="*/ 548 h 906"/>
                <a:gd name="T26" fmla="*/ 440 w 1234"/>
                <a:gd name="T27" fmla="*/ 566 h 906"/>
                <a:gd name="T28" fmla="*/ 490 w 1234"/>
                <a:gd name="T29" fmla="*/ 580 h 906"/>
                <a:gd name="T30" fmla="*/ 546 w 1234"/>
                <a:gd name="T31" fmla="*/ 578 h 906"/>
                <a:gd name="T32" fmla="*/ 662 w 1234"/>
                <a:gd name="T33" fmla="*/ 632 h 906"/>
                <a:gd name="T34" fmla="*/ 652 w 1234"/>
                <a:gd name="T35" fmla="*/ 696 h 906"/>
                <a:gd name="T36" fmla="*/ 688 w 1234"/>
                <a:gd name="T37" fmla="*/ 712 h 906"/>
                <a:gd name="T38" fmla="*/ 672 w 1234"/>
                <a:gd name="T39" fmla="*/ 758 h 906"/>
                <a:gd name="T40" fmla="*/ 686 w 1234"/>
                <a:gd name="T41" fmla="*/ 794 h 906"/>
                <a:gd name="T42" fmla="*/ 802 w 1234"/>
                <a:gd name="T43" fmla="*/ 756 h 906"/>
                <a:gd name="T44" fmla="*/ 802 w 1234"/>
                <a:gd name="T45" fmla="*/ 698 h 906"/>
                <a:gd name="T46" fmla="*/ 810 w 1234"/>
                <a:gd name="T47" fmla="*/ 660 h 906"/>
                <a:gd name="T48" fmla="*/ 862 w 1234"/>
                <a:gd name="T49" fmla="*/ 672 h 906"/>
                <a:gd name="T50" fmla="*/ 938 w 1234"/>
                <a:gd name="T51" fmla="*/ 704 h 906"/>
                <a:gd name="T52" fmla="*/ 940 w 1234"/>
                <a:gd name="T53" fmla="*/ 794 h 906"/>
                <a:gd name="T54" fmla="*/ 950 w 1234"/>
                <a:gd name="T55" fmla="*/ 866 h 906"/>
                <a:gd name="T56" fmla="*/ 984 w 1234"/>
                <a:gd name="T57" fmla="*/ 906 h 906"/>
                <a:gd name="T58" fmla="*/ 1072 w 1234"/>
                <a:gd name="T59" fmla="*/ 892 h 906"/>
                <a:gd name="T60" fmla="*/ 1234 w 1234"/>
                <a:gd name="T61" fmla="*/ 680 h 906"/>
                <a:gd name="T62" fmla="*/ 1088 w 1234"/>
                <a:gd name="T63" fmla="*/ 450 h 906"/>
                <a:gd name="T64" fmla="*/ 1136 w 1234"/>
                <a:gd name="T65" fmla="*/ 270 h 906"/>
                <a:gd name="T66" fmla="*/ 644 w 1234"/>
                <a:gd name="T67" fmla="*/ 72 h 906"/>
                <a:gd name="T68" fmla="*/ 612 w 1234"/>
                <a:gd name="T69" fmla="*/ 16 h 906"/>
                <a:gd name="T70" fmla="*/ 580 w 1234"/>
                <a:gd name="T71" fmla="*/ 42 h 906"/>
                <a:gd name="T72" fmla="*/ 488 w 1234"/>
                <a:gd name="T73" fmla="*/ 64 h 906"/>
                <a:gd name="T74" fmla="*/ 436 w 1234"/>
                <a:gd name="T75" fmla="*/ 92 h 906"/>
                <a:gd name="T76" fmla="*/ 332 w 1234"/>
                <a:gd name="T77" fmla="*/ 70 h 906"/>
                <a:gd name="T78" fmla="*/ 238 w 1234"/>
                <a:gd name="T79" fmla="*/ 124 h 906"/>
                <a:gd name="T80" fmla="*/ 152 w 1234"/>
                <a:gd name="T81" fmla="*/ 138 h 906"/>
                <a:gd name="T82" fmla="*/ 86 w 1234"/>
                <a:gd name="T83" fmla="*/ 134 h 906"/>
                <a:gd name="T84" fmla="*/ 36 w 1234"/>
                <a:gd name="T85" fmla="*/ 72 h 90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34"/>
                <a:gd name="T130" fmla="*/ 0 h 906"/>
                <a:gd name="T131" fmla="*/ 1234 w 1234"/>
                <a:gd name="T132" fmla="*/ 906 h 90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34" h="906">
                  <a:moveTo>
                    <a:pt x="36" y="72"/>
                  </a:moveTo>
                  <a:lnTo>
                    <a:pt x="10" y="114"/>
                  </a:lnTo>
                  <a:lnTo>
                    <a:pt x="30" y="138"/>
                  </a:lnTo>
                  <a:lnTo>
                    <a:pt x="12" y="164"/>
                  </a:lnTo>
                  <a:lnTo>
                    <a:pt x="18" y="192"/>
                  </a:lnTo>
                  <a:lnTo>
                    <a:pt x="4" y="228"/>
                  </a:lnTo>
                  <a:lnTo>
                    <a:pt x="0" y="266"/>
                  </a:lnTo>
                  <a:lnTo>
                    <a:pt x="46" y="304"/>
                  </a:lnTo>
                  <a:lnTo>
                    <a:pt x="64" y="370"/>
                  </a:lnTo>
                  <a:lnTo>
                    <a:pt x="64" y="388"/>
                  </a:lnTo>
                  <a:lnTo>
                    <a:pt x="92" y="394"/>
                  </a:lnTo>
                  <a:lnTo>
                    <a:pt x="138" y="442"/>
                  </a:lnTo>
                  <a:lnTo>
                    <a:pt x="180" y="482"/>
                  </a:lnTo>
                  <a:lnTo>
                    <a:pt x="192" y="466"/>
                  </a:lnTo>
                  <a:lnTo>
                    <a:pt x="212" y="486"/>
                  </a:lnTo>
                  <a:lnTo>
                    <a:pt x="212" y="510"/>
                  </a:lnTo>
                  <a:lnTo>
                    <a:pt x="242" y="530"/>
                  </a:lnTo>
                  <a:lnTo>
                    <a:pt x="208" y="558"/>
                  </a:lnTo>
                  <a:lnTo>
                    <a:pt x="236" y="580"/>
                  </a:lnTo>
                  <a:lnTo>
                    <a:pt x="252" y="576"/>
                  </a:lnTo>
                  <a:lnTo>
                    <a:pt x="276" y="604"/>
                  </a:lnTo>
                  <a:lnTo>
                    <a:pt x="278" y="630"/>
                  </a:lnTo>
                  <a:lnTo>
                    <a:pt x="364" y="602"/>
                  </a:lnTo>
                  <a:lnTo>
                    <a:pt x="376" y="604"/>
                  </a:lnTo>
                  <a:lnTo>
                    <a:pt x="404" y="572"/>
                  </a:lnTo>
                  <a:lnTo>
                    <a:pt x="382" y="548"/>
                  </a:lnTo>
                  <a:lnTo>
                    <a:pt x="398" y="534"/>
                  </a:lnTo>
                  <a:lnTo>
                    <a:pt x="440" y="566"/>
                  </a:lnTo>
                  <a:lnTo>
                    <a:pt x="470" y="550"/>
                  </a:lnTo>
                  <a:lnTo>
                    <a:pt x="490" y="580"/>
                  </a:lnTo>
                  <a:lnTo>
                    <a:pt x="512" y="598"/>
                  </a:lnTo>
                  <a:lnTo>
                    <a:pt x="546" y="578"/>
                  </a:lnTo>
                  <a:lnTo>
                    <a:pt x="640" y="648"/>
                  </a:lnTo>
                  <a:lnTo>
                    <a:pt x="662" y="632"/>
                  </a:lnTo>
                  <a:lnTo>
                    <a:pt x="680" y="648"/>
                  </a:lnTo>
                  <a:lnTo>
                    <a:pt x="652" y="696"/>
                  </a:lnTo>
                  <a:lnTo>
                    <a:pt x="674" y="724"/>
                  </a:lnTo>
                  <a:lnTo>
                    <a:pt x="688" y="712"/>
                  </a:lnTo>
                  <a:lnTo>
                    <a:pt x="698" y="730"/>
                  </a:lnTo>
                  <a:lnTo>
                    <a:pt x="672" y="758"/>
                  </a:lnTo>
                  <a:lnTo>
                    <a:pt x="668" y="784"/>
                  </a:lnTo>
                  <a:lnTo>
                    <a:pt x="686" y="794"/>
                  </a:lnTo>
                  <a:lnTo>
                    <a:pt x="780" y="772"/>
                  </a:lnTo>
                  <a:lnTo>
                    <a:pt x="802" y="756"/>
                  </a:lnTo>
                  <a:lnTo>
                    <a:pt x="784" y="736"/>
                  </a:lnTo>
                  <a:lnTo>
                    <a:pt x="802" y="698"/>
                  </a:lnTo>
                  <a:lnTo>
                    <a:pt x="780" y="676"/>
                  </a:lnTo>
                  <a:lnTo>
                    <a:pt x="810" y="660"/>
                  </a:lnTo>
                  <a:lnTo>
                    <a:pt x="836" y="676"/>
                  </a:lnTo>
                  <a:lnTo>
                    <a:pt x="862" y="672"/>
                  </a:lnTo>
                  <a:lnTo>
                    <a:pt x="872" y="662"/>
                  </a:lnTo>
                  <a:lnTo>
                    <a:pt x="938" y="704"/>
                  </a:lnTo>
                  <a:lnTo>
                    <a:pt x="928" y="756"/>
                  </a:lnTo>
                  <a:lnTo>
                    <a:pt x="940" y="794"/>
                  </a:lnTo>
                  <a:lnTo>
                    <a:pt x="926" y="832"/>
                  </a:lnTo>
                  <a:lnTo>
                    <a:pt x="950" y="866"/>
                  </a:lnTo>
                  <a:lnTo>
                    <a:pt x="936" y="898"/>
                  </a:lnTo>
                  <a:lnTo>
                    <a:pt x="984" y="906"/>
                  </a:lnTo>
                  <a:lnTo>
                    <a:pt x="1008" y="890"/>
                  </a:lnTo>
                  <a:lnTo>
                    <a:pt x="1072" y="892"/>
                  </a:lnTo>
                  <a:lnTo>
                    <a:pt x="1078" y="782"/>
                  </a:lnTo>
                  <a:lnTo>
                    <a:pt x="1234" y="680"/>
                  </a:lnTo>
                  <a:lnTo>
                    <a:pt x="1128" y="452"/>
                  </a:lnTo>
                  <a:lnTo>
                    <a:pt x="1088" y="450"/>
                  </a:lnTo>
                  <a:lnTo>
                    <a:pt x="1042" y="366"/>
                  </a:lnTo>
                  <a:lnTo>
                    <a:pt x="1136" y="270"/>
                  </a:lnTo>
                  <a:lnTo>
                    <a:pt x="918" y="62"/>
                  </a:lnTo>
                  <a:lnTo>
                    <a:pt x="644" y="72"/>
                  </a:lnTo>
                  <a:lnTo>
                    <a:pt x="646" y="0"/>
                  </a:lnTo>
                  <a:lnTo>
                    <a:pt x="612" y="16"/>
                  </a:lnTo>
                  <a:lnTo>
                    <a:pt x="608" y="44"/>
                  </a:lnTo>
                  <a:lnTo>
                    <a:pt x="580" y="42"/>
                  </a:lnTo>
                  <a:lnTo>
                    <a:pt x="574" y="26"/>
                  </a:lnTo>
                  <a:lnTo>
                    <a:pt x="488" y="64"/>
                  </a:lnTo>
                  <a:lnTo>
                    <a:pt x="468" y="106"/>
                  </a:lnTo>
                  <a:lnTo>
                    <a:pt x="436" y="92"/>
                  </a:lnTo>
                  <a:lnTo>
                    <a:pt x="404" y="122"/>
                  </a:lnTo>
                  <a:lnTo>
                    <a:pt x="332" y="70"/>
                  </a:lnTo>
                  <a:lnTo>
                    <a:pt x="298" y="110"/>
                  </a:lnTo>
                  <a:lnTo>
                    <a:pt x="238" y="124"/>
                  </a:lnTo>
                  <a:lnTo>
                    <a:pt x="184" y="110"/>
                  </a:lnTo>
                  <a:lnTo>
                    <a:pt x="152" y="138"/>
                  </a:lnTo>
                  <a:lnTo>
                    <a:pt x="110" y="114"/>
                  </a:lnTo>
                  <a:lnTo>
                    <a:pt x="86" y="134"/>
                  </a:lnTo>
                  <a:lnTo>
                    <a:pt x="50" y="114"/>
                  </a:lnTo>
                  <a:lnTo>
                    <a:pt x="36" y="72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2793" y="2298"/>
              <a:ext cx="952" cy="1276"/>
            </a:xfrm>
            <a:custGeom>
              <a:avLst/>
              <a:gdLst>
                <a:gd name="T0" fmla="*/ 182 w 1014"/>
                <a:gd name="T1" fmla="*/ 1036 h 1240"/>
                <a:gd name="T2" fmla="*/ 380 w 1014"/>
                <a:gd name="T3" fmla="*/ 820 h 1240"/>
                <a:gd name="T4" fmla="*/ 478 w 1014"/>
                <a:gd name="T5" fmla="*/ 982 h 1240"/>
                <a:gd name="T6" fmla="*/ 518 w 1014"/>
                <a:gd name="T7" fmla="*/ 1214 h 1240"/>
                <a:gd name="T8" fmla="*/ 634 w 1014"/>
                <a:gd name="T9" fmla="*/ 1240 h 1240"/>
                <a:gd name="T10" fmla="*/ 636 w 1014"/>
                <a:gd name="T11" fmla="*/ 1158 h 1240"/>
                <a:gd name="T12" fmla="*/ 734 w 1014"/>
                <a:gd name="T13" fmla="*/ 994 h 1240"/>
                <a:gd name="T14" fmla="*/ 670 w 1014"/>
                <a:gd name="T15" fmla="*/ 972 h 1240"/>
                <a:gd name="T16" fmla="*/ 704 w 1014"/>
                <a:gd name="T17" fmla="*/ 844 h 1240"/>
                <a:gd name="T18" fmla="*/ 788 w 1014"/>
                <a:gd name="T19" fmla="*/ 804 h 1240"/>
                <a:gd name="T20" fmla="*/ 866 w 1014"/>
                <a:gd name="T21" fmla="*/ 748 h 1240"/>
                <a:gd name="T22" fmla="*/ 840 w 1014"/>
                <a:gd name="T23" fmla="*/ 626 h 1240"/>
                <a:gd name="T24" fmla="*/ 926 w 1014"/>
                <a:gd name="T25" fmla="*/ 598 h 1240"/>
                <a:gd name="T26" fmla="*/ 998 w 1014"/>
                <a:gd name="T27" fmla="*/ 484 h 1240"/>
                <a:gd name="T28" fmla="*/ 998 w 1014"/>
                <a:gd name="T29" fmla="*/ 458 h 1240"/>
                <a:gd name="T30" fmla="*/ 1014 w 1014"/>
                <a:gd name="T31" fmla="*/ 406 h 1240"/>
                <a:gd name="T32" fmla="*/ 914 w 1014"/>
                <a:gd name="T33" fmla="*/ 404 h 1240"/>
                <a:gd name="T34" fmla="*/ 868 w 1014"/>
                <a:gd name="T35" fmla="*/ 362 h 1240"/>
                <a:gd name="T36" fmla="*/ 876 w 1014"/>
                <a:gd name="T37" fmla="*/ 304 h 1240"/>
                <a:gd name="T38" fmla="*/ 842 w 1014"/>
                <a:gd name="T39" fmla="*/ 260 h 1240"/>
                <a:gd name="T40" fmla="*/ 812 w 1014"/>
                <a:gd name="T41" fmla="*/ 262 h 1240"/>
                <a:gd name="T42" fmla="*/ 696 w 1014"/>
                <a:gd name="T43" fmla="*/ 170 h 1240"/>
                <a:gd name="T44" fmla="*/ 636 w 1014"/>
                <a:gd name="T45" fmla="*/ 44 h 1240"/>
                <a:gd name="T46" fmla="*/ 600 w 1014"/>
                <a:gd name="T47" fmla="*/ 0 h 1240"/>
                <a:gd name="T48" fmla="*/ 570 w 1014"/>
                <a:gd name="T49" fmla="*/ 20 h 1240"/>
                <a:gd name="T50" fmla="*/ 536 w 1014"/>
                <a:gd name="T51" fmla="*/ 34 h 1240"/>
                <a:gd name="T52" fmla="*/ 478 w 1014"/>
                <a:gd name="T53" fmla="*/ 50 h 1240"/>
                <a:gd name="T54" fmla="*/ 444 w 1014"/>
                <a:gd name="T55" fmla="*/ 60 h 1240"/>
                <a:gd name="T56" fmla="*/ 408 w 1014"/>
                <a:gd name="T57" fmla="*/ 56 h 1240"/>
                <a:gd name="T58" fmla="*/ 380 w 1014"/>
                <a:gd name="T59" fmla="*/ 56 h 1240"/>
                <a:gd name="T60" fmla="*/ 330 w 1014"/>
                <a:gd name="T61" fmla="*/ 104 h 1240"/>
                <a:gd name="T62" fmla="*/ 266 w 1014"/>
                <a:gd name="T63" fmla="*/ 146 h 1240"/>
                <a:gd name="T64" fmla="*/ 258 w 1014"/>
                <a:gd name="T65" fmla="*/ 190 h 1240"/>
                <a:gd name="T66" fmla="*/ 270 w 1014"/>
                <a:gd name="T67" fmla="*/ 214 h 1240"/>
                <a:gd name="T68" fmla="*/ 294 w 1014"/>
                <a:gd name="T69" fmla="*/ 266 h 1240"/>
                <a:gd name="T70" fmla="*/ 266 w 1014"/>
                <a:gd name="T71" fmla="*/ 300 h 1240"/>
                <a:gd name="T72" fmla="*/ 278 w 1014"/>
                <a:gd name="T73" fmla="*/ 370 h 1240"/>
                <a:gd name="T74" fmla="*/ 258 w 1014"/>
                <a:gd name="T75" fmla="*/ 474 h 1240"/>
                <a:gd name="T76" fmla="*/ 226 w 1014"/>
                <a:gd name="T77" fmla="*/ 478 h 1240"/>
                <a:gd name="T78" fmla="*/ 202 w 1014"/>
                <a:gd name="T79" fmla="*/ 464 h 1240"/>
                <a:gd name="T80" fmla="*/ 170 w 1014"/>
                <a:gd name="T81" fmla="*/ 460 h 1240"/>
                <a:gd name="T82" fmla="*/ 120 w 1014"/>
                <a:gd name="T83" fmla="*/ 494 h 1240"/>
                <a:gd name="T84" fmla="*/ 76 w 1014"/>
                <a:gd name="T85" fmla="*/ 520 h 1240"/>
                <a:gd name="T86" fmla="*/ 44 w 1014"/>
                <a:gd name="T87" fmla="*/ 528 h 1240"/>
                <a:gd name="T88" fmla="*/ 0 w 1014"/>
                <a:gd name="T89" fmla="*/ 568 h 1240"/>
                <a:gd name="T90" fmla="*/ 48 w 1014"/>
                <a:gd name="T91" fmla="*/ 612 h 1240"/>
                <a:gd name="T92" fmla="*/ 96 w 1014"/>
                <a:gd name="T93" fmla="*/ 602 h 1240"/>
                <a:gd name="T94" fmla="*/ 74 w 1014"/>
                <a:gd name="T95" fmla="*/ 708 h 1240"/>
                <a:gd name="T96" fmla="*/ 88 w 1014"/>
                <a:gd name="T97" fmla="*/ 782 h 1240"/>
                <a:gd name="T98" fmla="*/ 104 w 1014"/>
                <a:gd name="T99" fmla="*/ 824 h 1240"/>
                <a:gd name="T100" fmla="*/ 118 w 1014"/>
                <a:gd name="T101" fmla="*/ 878 h 1240"/>
                <a:gd name="T102" fmla="*/ 128 w 1014"/>
                <a:gd name="T103" fmla="*/ 918 h 1240"/>
                <a:gd name="T104" fmla="*/ 156 w 1014"/>
                <a:gd name="T105" fmla="*/ 1002 h 1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14"/>
                <a:gd name="T160" fmla="*/ 0 h 1240"/>
                <a:gd name="T161" fmla="*/ 1014 w 1014"/>
                <a:gd name="T162" fmla="*/ 1240 h 12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14" h="1240">
                  <a:moveTo>
                    <a:pt x="144" y="1044"/>
                  </a:moveTo>
                  <a:lnTo>
                    <a:pt x="182" y="1036"/>
                  </a:lnTo>
                  <a:lnTo>
                    <a:pt x="380" y="934"/>
                  </a:lnTo>
                  <a:lnTo>
                    <a:pt x="380" y="820"/>
                  </a:lnTo>
                  <a:lnTo>
                    <a:pt x="480" y="704"/>
                  </a:lnTo>
                  <a:lnTo>
                    <a:pt x="478" y="982"/>
                  </a:lnTo>
                  <a:lnTo>
                    <a:pt x="566" y="1080"/>
                  </a:lnTo>
                  <a:lnTo>
                    <a:pt x="518" y="1214"/>
                  </a:lnTo>
                  <a:lnTo>
                    <a:pt x="538" y="1240"/>
                  </a:lnTo>
                  <a:lnTo>
                    <a:pt x="634" y="1240"/>
                  </a:lnTo>
                  <a:lnTo>
                    <a:pt x="642" y="1188"/>
                  </a:lnTo>
                  <a:lnTo>
                    <a:pt x="636" y="1158"/>
                  </a:lnTo>
                  <a:lnTo>
                    <a:pt x="748" y="1040"/>
                  </a:lnTo>
                  <a:lnTo>
                    <a:pt x="734" y="994"/>
                  </a:lnTo>
                  <a:lnTo>
                    <a:pt x="692" y="960"/>
                  </a:lnTo>
                  <a:lnTo>
                    <a:pt x="670" y="972"/>
                  </a:lnTo>
                  <a:lnTo>
                    <a:pt x="640" y="886"/>
                  </a:lnTo>
                  <a:lnTo>
                    <a:pt x="704" y="844"/>
                  </a:lnTo>
                  <a:lnTo>
                    <a:pt x="710" y="792"/>
                  </a:lnTo>
                  <a:lnTo>
                    <a:pt x="788" y="804"/>
                  </a:lnTo>
                  <a:lnTo>
                    <a:pt x="886" y="776"/>
                  </a:lnTo>
                  <a:lnTo>
                    <a:pt x="866" y="748"/>
                  </a:lnTo>
                  <a:lnTo>
                    <a:pt x="904" y="712"/>
                  </a:lnTo>
                  <a:lnTo>
                    <a:pt x="840" y="626"/>
                  </a:lnTo>
                  <a:lnTo>
                    <a:pt x="904" y="586"/>
                  </a:lnTo>
                  <a:lnTo>
                    <a:pt x="926" y="598"/>
                  </a:lnTo>
                  <a:lnTo>
                    <a:pt x="998" y="530"/>
                  </a:lnTo>
                  <a:lnTo>
                    <a:pt x="998" y="484"/>
                  </a:lnTo>
                  <a:lnTo>
                    <a:pt x="950" y="486"/>
                  </a:lnTo>
                  <a:lnTo>
                    <a:pt x="998" y="458"/>
                  </a:lnTo>
                  <a:lnTo>
                    <a:pt x="994" y="424"/>
                  </a:lnTo>
                  <a:lnTo>
                    <a:pt x="1014" y="406"/>
                  </a:lnTo>
                  <a:lnTo>
                    <a:pt x="988" y="376"/>
                  </a:lnTo>
                  <a:lnTo>
                    <a:pt x="914" y="404"/>
                  </a:lnTo>
                  <a:lnTo>
                    <a:pt x="886" y="352"/>
                  </a:lnTo>
                  <a:lnTo>
                    <a:pt x="868" y="362"/>
                  </a:lnTo>
                  <a:lnTo>
                    <a:pt x="842" y="342"/>
                  </a:lnTo>
                  <a:lnTo>
                    <a:pt x="876" y="304"/>
                  </a:lnTo>
                  <a:lnTo>
                    <a:pt x="846" y="288"/>
                  </a:lnTo>
                  <a:lnTo>
                    <a:pt x="842" y="260"/>
                  </a:lnTo>
                  <a:lnTo>
                    <a:pt x="820" y="248"/>
                  </a:lnTo>
                  <a:lnTo>
                    <a:pt x="812" y="262"/>
                  </a:lnTo>
                  <a:lnTo>
                    <a:pt x="726" y="174"/>
                  </a:lnTo>
                  <a:lnTo>
                    <a:pt x="696" y="170"/>
                  </a:lnTo>
                  <a:lnTo>
                    <a:pt x="676" y="76"/>
                  </a:lnTo>
                  <a:lnTo>
                    <a:pt x="636" y="44"/>
                  </a:lnTo>
                  <a:lnTo>
                    <a:pt x="640" y="0"/>
                  </a:lnTo>
                  <a:lnTo>
                    <a:pt x="600" y="0"/>
                  </a:lnTo>
                  <a:lnTo>
                    <a:pt x="578" y="36"/>
                  </a:lnTo>
                  <a:lnTo>
                    <a:pt x="570" y="20"/>
                  </a:lnTo>
                  <a:lnTo>
                    <a:pt x="550" y="48"/>
                  </a:lnTo>
                  <a:lnTo>
                    <a:pt x="536" y="34"/>
                  </a:lnTo>
                  <a:lnTo>
                    <a:pt x="524" y="58"/>
                  </a:lnTo>
                  <a:lnTo>
                    <a:pt x="478" y="50"/>
                  </a:lnTo>
                  <a:lnTo>
                    <a:pt x="460" y="80"/>
                  </a:lnTo>
                  <a:lnTo>
                    <a:pt x="444" y="60"/>
                  </a:lnTo>
                  <a:lnTo>
                    <a:pt x="420" y="74"/>
                  </a:lnTo>
                  <a:lnTo>
                    <a:pt x="408" y="56"/>
                  </a:lnTo>
                  <a:lnTo>
                    <a:pt x="392" y="74"/>
                  </a:lnTo>
                  <a:lnTo>
                    <a:pt x="380" y="56"/>
                  </a:lnTo>
                  <a:lnTo>
                    <a:pt x="336" y="64"/>
                  </a:lnTo>
                  <a:lnTo>
                    <a:pt x="330" y="104"/>
                  </a:lnTo>
                  <a:lnTo>
                    <a:pt x="286" y="108"/>
                  </a:lnTo>
                  <a:lnTo>
                    <a:pt x="266" y="146"/>
                  </a:lnTo>
                  <a:lnTo>
                    <a:pt x="254" y="158"/>
                  </a:lnTo>
                  <a:lnTo>
                    <a:pt x="258" y="190"/>
                  </a:lnTo>
                  <a:lnTo>
                    <a:pt x="240" y="216"/>
                  </a:lnTo>
                  <a:lnTo>
                    <a:pt x="270" y="214"/>
                  </a:lnTo>
                  <a:lnTo>
                    <a:pt x="296" y="240"/>
                  </a:lnTo>
                  <a:lnTo>
                    <a:pt x="294" y="266"/>
                  </a:lnTo>
                  <a:lnTo>
                    <a:pt x="266" y="278"/>
                  </a:lnTo>
                  <a:lnTo>
                    <a:pt x="266" y="300"/>
                  </a:lnTo>
                  <a:lnTo>
                    <a:pt x="304" y="336"/>
                  </a:lnTo>
                  <a:lnTo>
                    <a:pt x="278" y="370"/>
                  </a:lnTo>
                  <a:lnTo>
                    <a:pt x="276" y="456"/>
                  </a:lnTo>
                  <a:lnTo>
                    <a:pt x="258" y="474"/>
                  </a:lnTo>
                  <a:lnTo>
                    <a:pt x="240" y="462"/>
                  </a:lnTo>
                  <a:lnTo>
                    <a:pt x="226" y="478"/>
                  </a:lnTo>
                  <a:lnTo>
                    <a:pt x="208" y="480"/>
                  </a:lnTo>
                  <a:lnTo>
                    <a:pt x="202" y="464"/>
                  </a:lnTo>
                  <a:lnTo>
                    <a:pt x="192" y="474"/>
                  </a:lnTo>
                  <a:lnTo>
                    <a:pt x="170" y="460"/>
                  </a:lnTo>
                  <a:lnTo>
                    <a:pt x="144" y="492"/>
                  </a:lnTo>
                  <a:lnTo>
                    <a:pt x="120" y="494"/>
                  </a:lnTo>
                  <a:lnTo>
                    <a:pt x="102" y="522"/>
                  </a:lnTo>
                  <a:lnTo>
                    <a:pt x="76" y="520"/>
                  </a:lnTo>
                  <a:lnTo>
                    <a:pt x="64" y="538"/>
                  </a:lnTo>
                  <a:lnTo>
                    <a:pt x="44" y="528"/>
                  </a:lnTo>
                  <a:lnTo>
                    <a:pt x="32" y="558"/>
                  </a:lnTo>
                  <a:lnTo>
                    <a:pt x="0" y="568"/>
                  </a:lnTo>
                  <a:lnTo>
                    <a:pt x="2" y="588"/>
                  </a:lnTo>
                  <a:lnTo>
                    <a:pt x="48" y="612"/>
                  </a:lnTo>
                  <a:lnTo>
                    <a:pt x="78" y="592"/>
                  </a:lnTo>
                  <a:lnTo>
                    <a:pt x="96" y="602"/>
                  </a:lnTo>
                  <a:lnTo>
                    <a:pt x="96" y="682"/>
                  </a:lnTo>
                  <a:lnTo>
                    <a:pt x="74" y="708"/>
                  </a:lnTo>
                  <a:lnTo>
                    <a:pt x="98" y="748"/>
                  </a:lnTo>
                  <a:lnTo>
                    <a:pt x="88" y="782"/>
                  </a:lnTo>
                  <a:lnTo>
                    <a:pt x="108" y="798"/>
                  </a:lnTo>
                  <a:lnTo>
                    <a:pt x="104" y="824"/>
                  </a:lnTo>
                  <a:lnTo>
                    <a:pt x="90" y="838"/>
                  </a:lnTo>
                  <a:lnTo>
                    <a:pt x="118" y="878"/>
                  </a:lnTo>
                  <a:lnTo>
                    <a:pt x="114" y="900"/>
                  </a:lnTo>
                  <a:lnTo>
                    <a:pt x="128" y="918"/>
                  </a:lnTo>
                  <a:lnTo>
                    <a:pt x="122" y="966"/>
                  </a:lnTo>
                  <a:lnTo>
                    <a:pt x="156" y="1002"/>
                  </a:lnTo>
                  <a:lnTo>
                    <a:pt x="144" y="1044"/>
                  </a:lnTo>
                  <a:close/>
                </a:path>
              </a:pathLst>
            </a:custGeom>
            <a:solidFill>
              <a:srgbClr val="EEA420"/>
            </a:solidFill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13"/>
            <p:cNvSpPr>
              <a:spLocks/>
            </p:cNvSpPr>
            <p:nvPr/>
          </p:nvSpPr>
          <p:spPr bwMode="auto">
            <a:xfrm>
              <a:off x="3386" y="2617"/>
              <a:ext cx="890" cy="1394"/>
            </a:xfrm>
            <a:custGeom>
              <a:avLst/>
              <a:gdLst>
                <a:gd name="T0" fmla="*/ 42 w 948"/>
                <a:gd name="T1" fmla="*/ 924 h 1354"/>
                <a:gd name="T2" fmla="*/ 296 w 948"/>
                <a:gd name="T3" fmla="*/ 1076 h 1354"/>
                <a:gd name="T4" fmla="*/ 356 w 948"/>
                <a:gd name="T5" fmla="*/ 1184 h 1354"/>
                <a:gd name="T6" fmla="*/ 788 w 948"/>
                <a:gd name="T7" fmla="*/ 1286 h 1354"/>
                <a:gd name="T8" fmla="*/ 688 w 948"/>
                <a:gd name="T9" fmla="*/ 874 h 1354"/>
                <a:gd name="T10" fmla="*/ 888 w 948"/>
                <a:gd name="T11" fmla="*/ 368 h 1354"/>
                <a:gd name="T12" fmla="*/ 948 w 948"/>
                <a:gd name="T13" fmla="*/ 336 h 1354"/>
                <a:gd name="T14" fmla="*/ 938 w 948"/>
                <a:gd name="T15" fmla="*/ 268 h 1354"/>
                <a:gd name="T16" fmla="*/ 938 w 948"/>
                <a:gd name="T17" fmla="*/ 174 h 1354"/>
                <a:gd name="T18" fmla="*/ 838 w 948"/>
                <a:gd name="T19" fmla="*/ 146 h 1354"/>
                <a:gd name="T20" fmla="*/ 780 w 948"/>
                <a:gd name="T21" fmla="*/ 144 h 1354"/>
                <a:gd name="T22" fmla="*/ 784 w 948"/>
                <a:gd name="T23" fmla="*/ 204 h 1354"/>
                <a:gd name="T24" fmla="*/ 772 w 948"/>
                <a:gd name="T25" fmla="*/ 246 h 1354"/>
                <a:gd name="T26" fmla="*/ 666 w 948"/>
                <a:gd name="T27" fmla="*/ 252 h 1354"/>
                <a:gd name="T28" fmla="*/ 696 w 948"/>
                <a:gd name="T29" fmla="*/ 196 h 1354"/>
                <a:gd name="T30" fmla="*/ 676 w 948"/>
                <a:gd name="T31" fmla="*/ 198 h 1354"/>
                <a:gd name="T32" fmla="*/ 678 w 948"/>
                <a:gd name="T33" fmla="*/ 120 h 1354"/>
                <a:gd name="T34" fmla="*/ 636 w 948"/>
                <a:gd name="T35" fmla="*/ 114 h 1354"/>
                <a:gd name="T36" fmla="*/ 510 w 948"/>
                <a:gd name="T37" fmla="*/ 66 h 1354"/>
                <a:gd name="T38" fmla="*/ 438 w 948"/>
                <a:gd name="T39" fmla="*/ 36 h 1354"/>
                <a:gd name="T40" fmla="*/ 376 w 948"/>
                <a:gd name="T41" fmla="*/ 16 h 1354"/>
                <a:gd name="T42" fmla="*/ 370 w 948"/>
                <a:gd name="T43" fmla="*/ 76 h 1354"/>
                <a:gd name="T44" fmla="*/ 360 w 948"/>
                <a:gd name="T45" fmla="*/ 108 h 1354"/>
                <a:gd name="T46" fmla="*/ 312 w 948"/>
                <a:gd name="T47" fmla="*/ 176 h 1354"/>
                <a:gd name="T48" fmla="*/ 366 w 948"/>
                <a:gd name="T49" fmla="*/ 220 h 1354"/>
                <a:gd name="T50" fmla="*/ 270 w 948"/>
                <a:gd name="T51" fmla="*/ 274 h 1354"/>
                <a:gd name="T52" fmla="*/ 274 w 948"/>
                <a:gd name="T53" fmla="*/ 406 h 1354"/>
                <a:gd name="T54" fmla="*/ 244 w 948"/>
                <a:gd name="T55" fmla="*/ 468 h 1354"/>
                <a:gd name="T56" fmla="*/ 74 w 948"/>
                <a:gd name="T57" fmla="*/ 478 h 1354"/>
                <a:gd name="T58" fmla="*/ 4 w 948"/>
                <a:gd name="T59" fmla="*/ 574 h 1354"/>
                <a:gd name="T60" fmla="*/ 58 w 948"/>
                <a:gd name="T61" fmla="*/ 644 h 1354"/>
                <a:gd name="T62" fmla="*/ 114 w 948"/>
                <a:gd name="T63" fmla="*/ 730 h 1354"/>
                <a:gd name="T64" fmla="*/ 12 w 948"/>
                <a:gd name="T65" fmla="*/ 878 h 13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48"/>
                <a:gd name="T100" fmla="*/ 0 h 1354"/>
                <a:gd name="T101" fmla="*/ 948 w 948"/>
                <a:gd name="T102" fmla="*/ 1354 h 135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48" h="1354">
                  <a:moveTo>
                    <a:pt x="8" y="930"/>
                  </a:moveTo>
                  <a:lnTo>
                    <a:pt x="42" y="924"/>
                  </a:lnTo>
                  <a:lnTo>
                    <a:pt x="176" y="1070"/>
                  </a:lnTo>
                  <a:lnTo>
                    <a:pt x="296" y="1076"/>
                  </a:lnTo>
                  <a:lnTo>
                    <a:pt x="294" y="1180"/>
                  </a:lnTo>
                  <a:lnTo>
                    <a:pt x="356" y="1184"/>
                  </a:lnTo>
                  <a:lnTo>
                    <a:pt x="446" y="1354"/>
                  </a:lnTo>
                  <a:lnTo>
                    <a:pt x="788" y="1286"/>
                  </a:lnTo>
                  <a:lnTo>
                    <a:pt x="832" y="1130"/>
                  </a:lnTo>
                  <a:lnTo>
                    <a:pt x="688" y="874"/>
                  </a:lnTo>
                  <a:lnTo>
                    <a:pt x="662" y="758"/>
                  </a:lnTo>
                  <a:lnTo>
                    <a:pt x="888" y="368"/>
                  </a:lnTo>
                  <a:lnTo>
                    <a:pt x="940" y="372"/>
                  </a:lnTo>
                  <a:lnTo>
                    <a:pt x="948" y="336"/>
                  </a:lnTo>
                  <a:lnTo>
                    <a:pt x="924" y="302"/>
                  </a:lnTo>
                  <a:lnTo>
                    <a:pt x="938" y="268"/>
                  </a:lnTo>
                  <a:lnTo>
                    <a:pt x="924" y="224"/>
                  </a:lnTo>
                  <a:lnTo>
                    <a:pt x="938" y="174"/>
                  </a:lnTo>
                  <a:lnTo>
                    <a:pt x="864" y="132"/>
                  </a:lnTo>
                  <a:lnTo>
                    <a:pt x="838" y="146"/>
                  </a:lnTo>
                  <a:lnTo>
                    <a:pt x="808" y="128"/>
                  </a:lnTo>
                  <a:lnTo>
                    <a:pt x="780" y="144"/>
                  </a:lnTo>
                  <a:lnTo>
                    <a:pt x="800" y="166"/>
                  </a:lnTo>
                  <a:lnTo>
                    <a:pt x="784" y="204"/>
                  </a:lnTo>
                  <a:lnTo>
                    <a:pt x="802" y="228"/>
                  </a:lnTo>
                  <a:lnTo>
                    <a:pt x="772" y="246"/>
                  </a:lnTo>
                  <a:lnTo>
                    <a:pt x="684" y="268"/>
                  </a:lnTo>
                  <a:lnTo>
                    <a:pt x="666" y="252"/>
                  </a:lnTo>
                  <a:lnTo>
                    <a:pt x="678" y="222"/>
                  </a:lnTo>
                  <a:lnTo>
                    <a:pt x="696" y="196"/>
                  </a:lnTo>
                  <a:lnTo>
                    <a:pt x="688" y="182"/>
                  </a:lnTo>
                  <a:lnTo>
                    <a:pt x="676" y="198"/>
                  </a:lnTo>
                  <a:lnTo>
                    <a:pt x="648" y="162"/>
                  </a:lnTo>
                  <a:lnTo>
                    <a:pt x="678" y="120"/>
                  </a:lnTo>
                  <a:lnTo>
                    <a:pt x="660" y="96"/>
                  </a:lnTo>
                  <a:lnTo>
                    <a:pt x="636" y="114"/>
                  </a:lnTo>
                  <a:lnTo>
                    <a:pt x="546" y="40"/>
                  </a:lnTo>
                  <a:lnTo>
                    <a:pt x="510" y="66"/>
                  </a:lnTo>
                  <a:lnTo>
                    <a:pt x="474" y="20"/>
                  </a:lnTo>
                  <a:lnTo>
                    <a:pt x="438" y="36"/>
                  </a:lnTo>
                  <a:lnTo>
                    <a:pt x="400" y="0"/>
                  </a:lnTo>
                  <a:lnTo>
                    <a:pt x="376" y="16"/>
                  </a:lnTo>
                  <a:lnTo>
                    <a:pt x="400" y="46"/>
                  </a:lnTo>
                  <a:lnTo>
                    <a:pt x="370" y="76"/>
                  </a:lnTo>
                  <a:lnTo>
                    <a:pt x="384" y="100"/>
                  </a:lnTo>
                  <a:lnTo>
                    <a:pt x="360" y="108"/>
                  </a:lnTo>
                  <a:lnTo>
                    <a:pt x="370" y="146"/>
                  </a:lnTo>
                  <a:lnTo>
                    <a:pt x="312" y="176"/>
                  </a:lnTo>
                  <a:lnTo>
                    <a:pt x="366" y="174"/>
                  </a:lnTo>
                  <a:lnTo>
                    <a:pt x="366" y="220"/>
                  </a:lnTo>
                  <a:lnTo>
                    <a:pt x="290" y="294"/>
                  </a:lnTo>
                  <a:lnTo>
                    <a:pt x="270" y="274"/>
                  </a:lnTo>
                  <a:lnTo>
                    <a:pt x="206" y="312"/>
                  </a:lnTo>
                  <a:lnTo>
                    <a:pt x="274" y="406"/>
                  </a:lnTo>
                  <a:lnTo>
                    <a:pt x="232" y="440"/>
                  </a:lnTo>
                  <a:lnTo>
                    <a:pt x="244" y="468"/>
                  </a:lnTo>
                  <a:lnTo>
                    <a:pt x="156" y="492"/>
                  </a:lnTo>
                  <a:lnTo>
                    <a:pt x="74" y="478"/>
                  </a:lnTo>
                  <a:lnTo>
                    <a:pt x="68" y="530"/>
                  </a:lnTo>
                  <a:lnTo>
                    <a:pt x="4" y="574"/>
                  </a:lnTo>
                  <a:lnTo>
                    <a:pt x="38" y="664"/>
                  </a:lnTo>
                  <a:lnTo>
                    <a:pt x="58" y="644"/>
                  </a:lnTo>
                  <a:lnTo>
                    <a:pt x="104" y="690"/>
                  </a:lnTo>
                  <a:lnTo>
                    <a:pt x="114" y="730"/>
                  </a:lnTo>
                  <a:lnTo>
                    <a:pt x="0" y="848"/>
                  </a:lnTo>
                  <a:lnTo>
                    <a:pt x="12" y="878"/>
                  </a:lnTo>
                  <a:lnTo>
                    <a:pt x="8" y="930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7" name="Plus 26"/>
          <p:cNvSpPr/>
          <p:nvPr/>
        </p:nvSpPr>
        <p:spPr>
          <a:xfrm>
            <a:off x="5689822" y="3983539"/>
            <a:ext cx="494661" cy="504966"/>
          </a:xfrm>
          <a:prstGeom prst="mathPlus">
            <a:avLst/>
          </a:prstGeom>
          <a:solidFill>
            <a:srgbClr val="01448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prstClr val="white"/>
              </a:solidFill>
            </a:endParaRPr>
          </a:p>
        </p:txBody>
      </p:sp>
      <p:sp>
        <p:nvSpPr>
          <p:cNvPr id="28" name="Plus 27"/>
          <p:cNvSpPr/>
          <p:nvPr/>
        </p:nvSpPr>
        <p:spPr>
          <a:xfrm>
            <a:off x="5082060" y="2944454"/>
            <a:ext cx="494661" cy="504966"/>
          </a:xfrm>
          <a:prstGeom prst="mathPlus">
            <a:avLst/>
          </a:prstGeom>
          <a:solidFill>
            <a:srgbClr val="01448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prstClr val="white"/>
              </a:solidFill>
            </a:endParaRPr>
          </a:p>
        </p:txBody>
      </p:sp>
      <p:sp>
        <p:nvSpPr>
          <p:cNvPr id="29" name="Plus 28"/>
          <p:cNvSpPr/>
          <p:nvPr/>
        </p:nvSpPr>
        <p:spPr>
          <a:xfrm>
            <a:off x="5269006" y="1897667"/>
            <a:ext cx="494661" cy="504966"/>
          </a:xfrm>
          <a:prstGeom prst="mathPlus">
            <a:avLst/>
          </a:prstGeom>
          <a:solidFill>
            <a:srgbClr val="01448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prstClr val="white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512399" y="2195676"/>
            <a:ext cx="15893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b="1" dirty="0" smtClean="0">
                <a:solidFill>
                  <a:prstClr val="black"/>
                </a:solidFill>
              </a:rPr>
              <a:t>Wommelgem</a:t>
            </a:r>
            <a:endParaRPr lang="fr-BE" sz="1200" b="1" dirty="0">
              <a:solidFill>
                <a:prstClr val="black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405488" y="2973602"/>
            <a:ext cx="815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b="1" dirty="0" smtClean="0">
                <a:solidFill>
                  <a:prstClr val="black"/>
                </a:solidFill>
              </a:rPr>
              <a:t>Vorst</a:t>
            </a:r>
            <a:endParaRPr lang="fr-BE" sz="1200" b="1" dirty="0">
              <a:solidFill>
                <a:prstClr val="black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977308" y="4326119"/>
            <a:ext cx="1301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b="1" dirty="0" err="1" smtClean="0">
                <a:solidFill>
                  <a:prstClr val="black"/>
                </a:solidFill>
              </a:rPr>
              <a:t>Floriffoux</a:t>
            </a:r>
            <a:endParaRPr lang="fr-BE" sz="1200" b="1" dirty="0">
              <a:solidFill>
                <a:prstClr val="black"/>
              </a:solidFill>
            </a:endParaRPr>
          </a:p>
        </p:txBody>
      </p:sp>
      <p:pic>
        <p:nvPicPr>
          <p:cNvPr id="33" name="Picture 32"/>
          <p:cNvPicPr/>
          <p:nvPr/>
        </p:nvPicPr>
        <p:blipFill>
          <a:blip r:embed="rId2"/>
          <a:stretch>
            <a:fillRect/>
          </a:stretch>
        </p:blipFill>
        <p:spPr>
          <a:xfrm>
            <a:off x="509145" y="1487986"/>
            <a:ext cx="3157242" cy="152013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920062">
            <a:off x="4100830" y="2954094"/>
            <a:ext cx="495300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6854286" flipV="1">
            <a:off x="3994577" y="2285428"/>
            <a:ext cx="495300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7" name="Picture 4" descr="http://yellower.se/wp-content/uploads/2011/12/note_post_it_desktop_2115x1871_wallpaper-80493.jpg"/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6443547" y="932088"/>
            <a:ext cx="2657529" cy="3329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/>
          <p:cNvSpPr txBox="1"/>
          <p:nvPr/>
        </p:nvSpPr>
        <p:spPr>
          <a:xfrm rot="21436747">
            <a:off x="6732011" y="1599314"/>
            <a:ext cx="22164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err="1"/>
              <a:t>Founded</a:t>
            </a:r>
            <a:r>
              <a:rPr lang="fr-BE" sz="1600" b="1" dirty="0"/>
              <a:t> in </a:t>
            </a:r>
            <a:r>
              <a:rPr lang="fr-BE" sz="1600" b="1" dirty="0" smtClean="0"/>
              <a:t>1967</a:t>
            </a:r>
            <a:endParaRPr lang="fr-BE" sz="16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err="1"/>
              <a:t>Renovated</a:t>
            </a:r>
            <a:r>
              <a:rPr lang="fr-BE" sz="1600" b="1" dirty="0"/>
              <a:t> in </a:t>
            </a:r>
            <a:r>
              <a:rPr lang="fr-BE" sz="1600" b="1" dirty="0" smtClean="0"/>
              <a:t>2000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BE" sz="16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smtClean="0"/>
              <a:t>65 dog cag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smtClean="0"/>
              <a:t>40 cat cages </a:t>
            </a:r>
            <a:br>
              <a:rPr lang="fr-BE" sz="1600" b="1" dirty="0" smtClean="0"/>
            </a:br>
            <a:r>
              <a:rPr lang="fr-BE" sz="1600" b="1" dirty="0" smtClean="0"/>
              <a:t>+ 2 chatteri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BE" sz="16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smtClean="0"/>
              <a:t>206 </a:t>
            </a:r>
            <a:r>
              <a:rPr lang="fr-BE" sz="1600" b="1" dirty="0" err="1" smtClean="0"/>
              <a:t>dogs</a:t>
            </a:r>
            <a:r>
              <a:rPr lang="fr-BE" sz="1600" b="1" dirty="0" smtClean="0"/>
              <a:t>/</a:t>
            </a:r>
            <a:r>
              <a:rPr lang="fr-BE" sz="1600" b="1" dirty="0" err="1" smtClean="0"/>
              <a:t>year</a:t>
            </a:r>
            <a:endParaRPr lang="fr-BE" sz="1600" b="1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smtClean="0"/>
              <a:t>269 cats/</a:t>
            </a:r>
            <a:r>
              <a:rPr lang="fr-BE" sz="1600" b="1" dirty="0" err="1" smtClean="0"/>
              <a:t>year</a:t>
            </a:r>
            <a:endParaRPr lang="fr-BE" b="1" dirty="0" smtClean="0"/>
          </a:p>
        </p:txBody>
      </p:sp>
      <p:pic>
        <p:nvPicPr>
          <p:cNvPr id="40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16"/>
          <a:stretch/>
        </p:blipFill>
        <p:spPr bwMode="auto">
          <a:xfrm>
            <a:off x="0" y="6611275"/>
            <a:ext cx="9729788" cy="8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40"/>
          <p:cNvPicPr/>
          <p:nvPr/>
        </p:nvPicPr>
        <p:blipFill>
          <a:blip r:embed="rId6"/>
          <a:stretch>
            <a:fillRect/>
          </a:stretch>
        </p:blipFill>
        <p:spPr>
          <a:xfrm>
            <a:off x="2068508" y="4398300"/>
            <a:ext cx="2549062" cy="175864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34" name="Picture 2" descr="C:\Users\vanhunie\Desktop\MARPRD0476 Template ppt A4A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258" t="72321" r="36826" b="7937"/>
          <a:stretch/>
        </p:blipFill>
        <p:spPr bwMode="auto">
          <a:xfrm>
            <a:off x="774443" y="121494"/>
            <a:ext cx="1032263" cy="1041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ounded Rectangle 41"/>
          <p:cNvSpPr/>
          <p:nvPr/>
        </p:nvSpPr>
        <p:spPr>
          <a:xfrm>
            <a:off x="2108142" y="174602"/>
            <a:ext cx="6900478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b="1" dirty="0" smtClean="0">
                <a:solidFill>
                  <a:schemeClr val="bg1"/>
                </a:solidFill>
              </a:rPr>
              <a:t>NATIONALE PARTNER – VORST VOOR CENTRUM BELGIË</a:t>
            </a:r>
            <a:endParaRPr lang="nl-B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584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26"/>
          <p:cNvGrpSpPr>
            <a:grpSpLocks/>
          </p:cNvGrpSpPr>
          <p:nvPr/>
        </p:nvGrpSpPr>
        <p:grpSpPr bwMode="auto">
          <a:xfrm>
            <a:off x="2788070" y="1344597"/>
            <a:ext cx="5188568" cy="4776906"/>
            <a:chOff x="1331" y="1052"/>
            <a:chExt cx="3214" cy="2959"/>
          </a:xfr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Freeform 3"/>
            <p:cNvSpPr>
              <a:spLocks/>
            </p:cNvSpPr>
            <p:nvPr/>
          </p:nvSpPr>
          <p:spPr bwMode="auto">
            <a:xfrm>
              <a:off x="1331" y="1252"/>
              <a:ext cx="796" cy="959"/>
            </a:xfrm>
            <a:custGeom>
              <a:avLst/>
              <a:gdLst>
                <a:gd name="T0" fmla="*/ 0 w 848"/>
                <a:gd name="T1" fmla="*/ 372 h 932"/>
                <a:gd name="T2" fmla="*/ 752 w 848"/>
                <a:gd name="T3" fmla="*/ 0 h 932"/>
                <a:gd name="T4" fmla="*/ 812 w 848"/>
                <a:gd name="T5" fmla="*/ 88 h 932"/>
                <a:gd name="T6" fmla="*/ 776 w 848"/>
                <a:gd name="T7" fmla="*/ 156 h 932"/>
                <a:gd name="T8" fmla="*/ 744 w 848"/>
                <a:gd name="T9" fmla="*/ 208 h 932"/>
                <a:gd name="T10" fmla="*/ 712 w 848"/>
                <a:gd name="T11" fmla="*/ 360 h 932"/>
                <a:gd name="T12" fmla="*/ 788 w 848"/>
                <a:gd name="T13" fmla="*/ 464 h 932"/>
                <a:gd name="T14" fmla="*/ 792 w 848"/>
                <a:gd name="T15" fmla="*/ 576 h 932"/>
                <a:gd name="T16" fmla="*/ 812 w 848"/>
                <a:gd name="T17" fmla="*/ 592 h 932"/>
                <a:gd name="T18" fmla="*/ 808 w 848"/>
                <a:gd name="T19" fmla="*/ 692 h 932"/>
                <a:gd name="T20" fmla="*/ 848 w 848"/>
                <a:gd name="T21" fmla="*/ 808 h 932"/>
                <a:gd name="T22" fmla="*/ 720 w 848"/>
                <a:gd name="T23" fmla="*/ 932 h 932"/>
                <a:gd name="T24" fmla="*/ 624 w 848"/>
                <a:gd name="T25" fmla="*/ 852 h 932"/>
                <a:gd name="T26" fmla="*/ 576 w 848"/>
                <a:gd name="T27" fmla="*/ 848 h 932"/>
                <a:gd name="T28" fmla="*/ 436 w 848"/>
                <a:gd name="T29" fmla="*/ 844 h 932"/>
                <a:gd name="T30" fmla="*/ 352 w 848"/>
                <a:gd name="T31" fmla="*/ 920 h 932"/>
                <a:gd name="T32" fmla="*/ 276 w 848"/>
                <a:gd name="T33" fmla="*/ 924 h 932"/>
                <a:gd name="T34" fmla="*/ 104 w 848"/>
                <a:gd name="T35" fmla="*/ 780 h 932"/>
                <a:gd name="T36" fmla="*/ 68 w 848"/>
                <a:gd name="T37" fmla="*/ 584 h 932"/>
                <a:gd name="T38" fmla="*/ 0 w 848"/>
                <a:gd name="T39" fmla="*/ 372 h 93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48"/>
                <a:gd name="T61" fmla="*/ 0 h 932"/>
                <a:gd name="T62" fmla="*/ 848 w 848"/>
                <a:gd name="T63" fmla="*/ 932 h 93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48" h="932">
                  <a:moveTo>
                    <a:pt x="0" y="372"/>
                  </a:moveTo>
                  <a:lnTo>
                    <a:pt x="752" y="0"/>
                  </a:lnTo>
                  <a:lnTo>
                    <a:pt x="812" y="88"/>
                  </a:lnTo>
                  <a:lnTo>
                    <a:pt x="776" y="156"/>
                  </a:lnTo>
                  <a:lnTo>
                    <a:pt x="744" y="208"/>
                  </a:lnTo>
                  <a:lnTo>
                    <a:pt x="712" y="360"/>
                  </a:lnTo>
                  <a:lnTo>
                    <a:pt x="788" y="464"/>
                  </a:lnTo>
                  <a:lnTo>
                    <a:pt x="792" y="576"/>
                  </a:lnTo>
                  <a:lnTo>
                    <a:pt x="812" y="592"/>
                  </a:lnTo>
                  <a:lnTo>
                    <a:pt x="808" y="692"/>
                  </a:lnTo>
                  <a:lnTo>
                    <a:pt x="848" y="808"/>
                  </a:lnTo>
                  <a:lnTo>
                    <a:pt x="720" y="932"/>
                  </a:lnTo>
                  <a:lnTo>
                    <a:pt x="624" y="852"/>
                  </a:lnTo>
                  <a:lnTo>
                    <a:pt x="576" y="848"/>
                  </a:lnTo>
                  <a:lnTo>
                    <a:pt x="436" y="844"/>
                  </a:lnTo>
                  <a:lnTo>
                    <a:pt x="352" y="920"/>
                  </a:lnTo>
                  <a:lnTo>
                    <a:pt x="276" y="924"/>
                  </a:lnTo>
                  <a:lnTo>
                    <a:pt x="104" y="780"/>
                  </a:lnTo>
                  <a:lnTo>
                    <a:pt x="68" y="584"/>
                  </a:lnTo>
                  <a:lnTo>
                    <a:pt x="0" y="372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4"/>
            <p:cNvSpPr>
              <a:spLocks/>
            </p:cNvSpPr>
            <p:nvPr/>
          </p:nvSpPr>
          <p:spPr bwMode="auto">
            <a:xfrm>
              <a:off x="1999" y="1246"/>
              <a:ext cx="839" cy="953"/>
            </a:xfrm>
            <a:custGeom>
              <a:avLst/>
              <a:gdLst>
                <a:gd name="T0" fmla="*/ 28 w 894"/>
                <a:gd name="T1" fmla="*/ 212 h 926"/>
                <a:gd name="T2" fmla="*/ 76 w 894"/>
                <a:gd name="T3" fmla="*/ 474 h 926"/>
                <a:gd name="T4" fmla="*/ 102 w 894"/>
                <a:gd name="T5" fmla="*/ 600 h 926"/>
                <a:gd name="T6" fmla="*/ 140 w 894"/>
                <a:gd name="T7" fmla="*/ 818 h 926"/>
                <a:gd name="T8" fmla="*/ 268 w 894"/>
                <a:gd name="T9" fmla="*/ 926 h 926"/>
                <a:gd name="T10" fmla="*/ 386 w 894"/>
                <a:gd name="T11" fmla="*/ 844 h 926"/>
                <a:gd name="T12" fmla="*/ 540 w 894"/>
                <a:gd name="T13" fmla="*/ 910 h 926"/>
                <a:gd name="T14" fmla="*/ 528 w 894"/>
                <a:gd name="T15" fmla="*/ 864 h 926"/>
                <a:gd name="T16" fmla="*/ 580 w 894"/>
                <a:gd name="T17" fmla="*/ 856 h 926"/>
                <a:gd name="T18" fmla="*/ 658 w 894"/>
                <a:gd name="T19" fmla="*/ 800 h 926"/>
                <a:gd name="T20" fmla="*/ 646 w 894"/>
                <a:gd name="T21" fmla="*/ 746 h 926"/>
                <a:gd name="T22" fmla="*/ 666 w 894"/>
                <a:gd name="T23" fmla="*/ 696 h 926"/>
                <a:gd name="T24" fmla="*/ 686 w 894"/>
                <a:gd name="T25" fmla="*/ 648 h 926"/>
                <a:gd name="T26" fmla="*/ 686 w 894"/>
                <a:gd name="T27" fmla="*/ 618 h 926"/>
                <a:gd name="T28" fmla="*/ 734 w 894"/>
                <a:gd name="T29" fmla="*/ 628 h 926"/>
                <a:gd name="T30" fmla="*/ 736 w 894"/>
                <a:gd name="T31" fmla="*/ 584 h 926"/>
                <a:gd name="T32" fmla="*/ 742 w 894"/>
                <a:gd name="T33" fmla="*/ 530 h 926"/>
                <a:gd name="T34" fmla="*/ 774 w 894"/>
                <a:gd name="T35" fmla="*/ 544 h 926"/>
                <a:gd name="T36" fmla="*/ 790 w 894"/>
                <a:gd name="T37" fmla="*/ 500 h 926"/>
                <a:gd name="T38" fmla="*/ 796 w 894"/>
                <a:gd name="T39" fmla="*/ 458 h 926"/>
                <a:gd name="T40" fmla="*/ 758 w 894"/>
                <a:gd name="T41" fmla="*/ 450 h 926"/>
                <a:gd name="T42" fmla="*/ 778 w 894"/>
                <a:gd name="T43" fmla="*/ 416 h 926"/>
                <a:gd name="T44" fmla="*/ 774 w 894"/>
                <a:gd name="T45" fmla="*/ 346 h 926"/>
                <a:gd name="T46" fmla="*/ 844 w 894"/>
                <a:gd name="T47" fmla="*/ 334 h 926"/>
                <a:gd name="T48" fmla="*/ 892 w 894"/>
                <a:gd name="T49" fmla="*/ 300 h 926"/>
                <a:gd name="T50" fmla="*/ 850 w 894"/>
                <a:gd name="T51" fmla="*/ 148 h 926"/>
                <a:gd name="T52" fmla="*/ 874 w 894"/>
                <a:gd name="T53" fmla="*/ 124 h 926"/>
                <a:gd name="T54" fmla="*/ 832 w 894"/>
                <a:gd name="T55" fmla="*/ 76 h 926"/>
                <a:gd name="T56" fmla="*/ 842 w 894"/>
                <a:gd name="T57" fmla="*/ 16 h 926"/>
                <a:gd name="T58" fmla="*/ 548 w 894"/>
                <a:gd name="T59" fmla="*/ 202 h 926"/>
                <a:gd name="T60" fmla="*/ 432 w 894"/>
                <a:gd name="T61" fmla="*/ 142 h 926"/>
                <a:gd name="T62" fmla="*/ 258 w 894"/>
                <a:gd name="T63" fmla="*/ 156 h 926"/>
                <a:gd name="T64" fmla="*/ 96 w 894"/>
                <a:gd name="T65" fmla="*/ 96 h 9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94"/>
                <a:gd name="T100" fmla="*/ 0 h 926"/>
                <a:gd name="T101" fmla="*/ 894 w 894"/>
                <a:gd name="T102" fmla="*/ 926 h 9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94" h="926">
                  <a:moveTo>
                    <a:pt x="96" y="96"/>
                  </a:moveTo>
                  <a:lnTo>
                    <a:pt x="28" y="212"/>
                  </a:lnTo>
                  <a:lnTo>
                    <a:pt x="0" y="366"/>
                  </a:lnTo>
                  <a:lnTo>
                    <a:pt x="76" y="474"/>
                  </a:lnTo>
                  <a:lnTo>
                    <a:pt x="76" y="582"/>
                  </a:lnTo>
                  <a:lnTo>
                    <a:pt x="102" y="600"/>
                  </a:lnTo>
                  <a:lnTo>
                    <a:pt x="94" y="698"/>
                  </a:lnTo>
                  <a:lnTo>
                    <a:pt x="140" y="818"/>
                  </a:lnTo>
                  <a:lnTo>
                    <a:pt x="190" y="900"/>
                  </a:lnTo>
                  <a:lnTo>
                    <a:pt x="268" y="926"/>
                  </a:lnTo>
                  <a:lnTo>
                    <a:pt x="308" y="846"/>
                  </a:lnTo>
                  <a:lnTo>
                    <a:pt x="386" y="844"/>
                  </a:lnTo>
                  <a:lnTo>
                    <a:pt x="490" y="910"/>
                  </a:lnTo>
                  <a:lnTo>
                    <a:pt x="540" y="910"/>
                  </a:lnTo>
                  <a:lnTo>
                    <a:pt x="554" y="896"/>
                  </a:lnTo>
                  <a:lnTo>
                    <a:pt x="528" y="864"/>
                  </a:lnTo>
                  <a:lnTo>
                    <a:pt x="548" y="830"/>
                  </a:lnTo>
                  <a:lnTo>
                    <a:pt x="580" y="856"/>
                  </a:lnTo>
                  <a:lnTo>
                    <a:pt x="626" y="838"/>
                  </a:lnTo>
                  <a:lnTo>
                    <a:pt x="658" y="800"/>
                  </a:lnTo>
                  <a:lnTo>
                    <a:pt x="656" y="780"/>
                  </a:lnTo>
                  <a:lnTo>
                    <a:pt x="646" y="746"/>
                  </a:lnTo>
                  <a:lnTo>
                    <a:pt x="648" y="716"/>
                  </a:lnTo>
                  <a:lnTo>
                    <a:pt x="666" y="696"/>
                  </a:lnTo>
                  <a:lnTo>
                    <a:pt x="668" y="670"/>
                  </a:lnTo>
                  <a:lnTo>
                    <a:pt x="686" y="648"/>
                  </a:lnTo>
                  <a:lnTo>
                    <a:pt x="670" y="630"/>
                  </a:lnTo>
                  <a:lnTo>
                    <a:pt x="686" y="618"/>
                  </a:lnTo>
                  <a:lnTo>
                    <a:pt x="702" y="634"/>
                  </a:lnTo>
                  <a:lnTo>
                    <a:pt x="734" y="628"/>
                  </a:lnTo>
                  <a:lnTo>
                    <a:pt x="722" y="596"/>
                  </a:lnTo>
                  <a:lnTo>
                    <a:pt x="736" y="584"/>
                  </a:lnTo>
                  <a:lnTo>
                    <a:pt x="724" y="558"/>
                  </a:lnTo>
                  <a:lnTo>
                    <a:pt x="742" y="530"/>
                  </a:lnTo>
                  <a:lnTo>
                    <a:pt x="758" y="540"/>
                  </a:lnTo>
                  <a:lnTo>
                    <a:pt x="774" y="544"/>
                  </a:lnTo>
                  <a:lnTo>
                    <a:pt x="806" y="514"/>
                  </a:lnTo>
                  <a:lnTo>
                    <a:pt x="790" y="500"/>
                  </a:lnTo>
                  <a:lnTo>
                    <a:pt x="810" y="470"/>
                  </a:lnTo>
                  <a:lnTo>
                    <a:pt x="796" y="458"/>
                  </a:lnTo>
                  <a:lnTo>
                    <a:pt x="784" y="476"/>
                  </a:lnTo>
                  <a:lnTo>
                    <a:pt x="758" y="450"/>
                  </a:lnTo>
                  <a:lnTo>
                    <a:pt x="778" y="432"/>
                  </a:lnTo>
                  <a:lnTo>
                    <a:pt x="778" y="416"/>
                  </a:lnTo>
                  <a:lnTo>
                    <a:pt x="742" y="382"/>
                  </a:lnTo>
                  <a:lnTo>
                    <a:pt x="774" y="346"/>
                  </a:lnTo>
                  <a:lnTo>
                    <a:pt x="828" y="348"/>
                  </a:lnTo>
                  <a:lnTo>
                    <a:pt x="844" y="334"/>
                  </a:lnTo>
                  <a:lnTo>
                    <a:pt x="876" y="332"/>
                  </a:lnTo>
                  <a:lnTo>
                    <a:pt x="892" y="300"/>
                  </a:lnTo>
                  <a:lnTo>
                    <a:pt x="894" y="250"/>
                  </a:lnTo>
                  <a:lnTo>
                    <a:pt x="850" y="148"/>
                  </a:lnTo>
                  <a:lnTo>
                    <a:pt x="862" y="128"/>
                  </a:lnTo>
                  <a:lnTo>
                    <a:pt x="874" y="124"/>
                  </a:lnTo>
                  <a:lnTo>
                    <a:pt x="876" y="102"/>
                  </a:lnTo>
                  <a:lnTo>
                    <a:pt x="832" y="76"/>
                  </a:lnTo>
                  <a:lnTo>
                    <a:pt x="832" y="36"/>
                  </a:lnTo>
                  <a:lnTo>
                    <a:pt x="842" y="16"/>
                  </a:lnTo>
                  <a:lnTo>
                    <a:pt x="828" y="0"/>
                  </a:lnTo>
                  <a:lnTo>
                    <a:pt x="548" y="202"/>
                  </a:lnTo>
                  <a:lnTo>
                    <a:pt x="438" y="202"/>
                  </a:lnTo>
                  <a:lnTo>
                    <a:pt x="432" y="142"/>
                  </a:lnTo>
                  <a:lnTo>
                    <a:pt x="336" y="146"/>
                  </a:lnTo>
                  <a:lnTo>
                    <a:pt x="258" y="156"/>
                  </a:lnTo>
                  <a:lnTo>
                    <a:pt x="158" y="172"/>
                  </a:lnTo>
                  <a:lnTo>
                    <a:pt x="96" y="96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1883" y="2079"/>
              <a:ext cx="1196" cy="1291"/>
            </a:xfrm>
            <a:custGeom>
              <a:avLst/>
              <a:gdLst>
                <a:gd name="T0" fmla="*/ 100 w 1274"/>
                <a:gd name="T1" fmla="*/ 412 h 1254"/>
                <a:gd name="T2" fmla="*/ 478 w 1274"/>
                <a:gd name="T3" fmla="*/ 644 h 1254"/>
                <a:gd name="T4" fmla="*/ 868 w 1274"/>
                <a:gd name="T5" fmla="*/ 776 h 1254"/>
                <a:gd name="T6" fmla="*/ 850 w 1274"/>
                <a:gd name="T7" fmla="*/ 1186 h 1254"/>
                <a:gd name="T8" fmla="*/ 1126 w 1274"/>
                <a:gd name="T9" fmla="*/ 1210 h 1254"/>
                <a:gd name="T10" fmla="*/ 1098 w 1274"/>
                <a:gd name="T11" fmla="*/ 1132 h 1254"/>
                <a:gd name="T12" fmla="*/ 1084 w 1274"/>
                <a:gd name="T13" fmla="*/ 1084 h 1254"/>
                <a:gd name="T14" fmla="*/ 1076 w 1274"/>
                <a:gd name="T15" fmla="*/ 1030 h 1254"/>
                <a:gd name="T16" fmla="*/ 1060 w 1274"/>
                <a:gd name="T17" fmla="*/ 992 h 1254"/>
                <a:gd name="T18" fmla="*/ 1074 w 1274"/>
                <a:gd name="T19" fmla="*/ 962 h 1254"/>
                <a:gd name="T20" fmla="*/ 1068 w 1274"/>
                <a:gd name="T21" fmla="*/ 884 h 1254"/>
                <a:gd name="T22" fmla="*/ 1054 w 1274"/>
                <a:gd name="T23" fmla="*/ 802 h 1254"/>
                <a:gd name="T24" fmla="*/ 990 w 1274"/>
                <a:gd name="T25" fmla="*/ 802 h 1254"/>
                <a:gd name="T26" fmla="*/ 976 w 1274"/>
                <a:gd name="T27" fmla="*/ 782 h 1254"/>
                <a:gd name="T28" fmla="*/ 1002 w 1274"/>
                <a:gd name="T29" fmla="*/ 772 h 1254"/>
                <a:gd name="T30" fmla="*/ 1016 w 1274"/>
                <a:gd name="T31" fmla="*/ 744 h 1254"/>
                <a:gd name="T32" fmla="*/ 1048 w 1274"/>
                <a:gd name="T33" fmla="*/ 736 h 1254"/>
                <a:gd name="T34" fmla="*/ 1094 w 1274"/>
                <a:gd name="T35" fmla="*/ 706 h 1254"/>
                <a:gd name="T36" fmla="*/ 1144 w 1274"/>
                <a:gd name="T37" fmla="*/ 674 h 1254"/>
                <a:gd name="T38" fmla="*/ 1176 w 1274"/>
                <a:gd name="T39" fmla="*/ 676 h 1254"/>
                <a:gd name="T40" fmla="*/ 1202 w 1274"/>
                <a:gd name="T41" fmla="*/ 690 h 1254"/>
                <a:gd name="T42" fmla="*/ 1234 w 1274"/>
                <a:gd name="T43" fmla="*/ 686 h 1254"/>
                <a:gd name="T44" fmla="*/ 1252 w 1274"/>
                <a:gd name="T45" fmla="*/ 582 h 1254"/>
                <a:gd name="T46" fmla="*/ 1240 w 1274"/>
                <a:gd name="T47" fmla="*/ 506 h 1254"/>
                <a:gd name="T48" fmla="*/ 1266 w 1274"/>
                <a:gd name="T49" fmla="*/ 476 h 1254"/>
                <a:gd name="T50" fmla="*/ 1238 w 1274"/>
                <a:gd name="T51" fmla="*/ 430 h 1254"/>
                <a:gd name="T52" fmla="*/ 1228 w 1274"/>
                <a:gd name="T53" fmla="*/ 406 h 1254"/>
                <a:gd name="T54" fmla="*/ 1202 w 1274"/>
                <a:gd name="T55" fmla="*/ 396 h 1254"/>
                <a:gd name="T56" fmla="*/ 1160 w 1274"/>
                <a:gd name="T57" fmla="*/ 370 h 1254"/>
                <a:gd name="T58" fmla="*/ 1116 w 1274"/>
                <a:gd name="T59" fmla="*/ 344 h 1254"/>
                <a:gd name="T60" fmla="*/ 1082 w 1274"/>
                <a:gd name="T61" fmla="*/ 336 h 1254"/>
                <a:gd name="T62" fmla="*/ 1020 w 1274"/>
                <a:gd name="T63" fmla="*/ 354 h 1254"/>
                <a:gd name="T64" fmla="*/ 984 w 1274"/>
                <a:gd name="T65" fmla="*/ 308 h 1254"/>
                <a:gd name="T66" fmla="*/ 950 w 1274"/>
                <a:gd name="T67" fmla="*/ 296 h 1254"/>
                <a:gd name="T68" fmla="*/ 950 w 1274"/>
                <a:gd name="T69" fmla="*/ 264 h 1254"/>
                <a:gd name="T70" fmla="*/ 898 w 1274"/>
                <a:gd name="T71" fmla="*/ 238 h 1254"/>
                <a:gd name="T72" fmla="*/ 848 w 1274"/>
                <a:gd name="T73" fmla="*/ 218 h 1254"/>
                <a:gd name="T74" fmla="*/ 834 w 1274"/>
                <a:gd name="T75" fmla="*/ 254 h 1254"/>
                <a:gd name="T76" fmla="*/ 812 w 1274"/>
                <a:gd name="T77" fmla="*/ 194 h 1254"/>
                <a:gd name="T78" fmla="*/ 768 w 1274"/>
                <a:gd name="T79" fmla="*/ 138 h 1254"/>
                <a:gd name="T80" fmla="*/ 722 w 1274"/>
                <a:gd name="T81" fmla="*/ 138 h 1254"/>
                <a:gd name="T82" fmla="*/ 678 w 1274"/>
                <a:gd name="T83" fmla="*/ 142 h 1254"/>
                <a:gd name="T84" fmla="*/ 646 w 1274"/>
                <a:gd name="T85" fmla="*/ 150 h 1254"/>
                <a:gd name="T86" fmla="*/ 616 w 1274"/>
                <a:gd name="T87" fmla="*/ 106 h 1254"/>
                <a:gd name="T88" fmla="*/ 510 w 1274"/>
                <a:gd name="T89" fmla="*/ 30 h 1254"/>
                <a:gd name="T90" fmla="*/ 388 w 1274"/>
                <a:gd name="T91" fmla="*/ 108 h 1254"/>
                <a:gd name="T92" fmla="*/ 262 w 1274"/>
                <a:gd name="T93" fmla="*/ 0 h 1254"/>
                <a:gd name="T94" fmla="*/ 32 w 1274"/>
                <a:gd name="T95" fmla="*/ 42 h 125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74"/>
                <a:gd name="T145" fmla="*/ 0 h 1254"/>
                <a:gd name="T146" fmla="*/ 1274 w 1274"/>
                <a:gd name="T147" fmla="*/ 1254 h 125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74" h="1254">
                  <a:moveTo>
                    <a:pt x="0" y="44"/>
                  </a:moveTo>
                  <a:lnTo>
                    <a:pt x="100" y="412"/>
                  </a:lnTo>
                  <a:lnTo>
                    <a:pt x="364" y="440"/>
                  </a:lnTo>
                  <a:lnTo>
                    <a:pt x="478" y="644"/>
                  </a:lnTo>
                  <a:lnTo>
                    <a:pt x="706" y="648"/>
                  </a:lnTo>
                  <a:lnTo>
                    <a:pt x="868" y="776"/>
                  </a:lnTo>
                  <a:lnTo>
                    <a:pt x="882" y="1064"/>
                  </a:lnTo>
                  <a:lnTo>
                    <a:pt x="850" y="1186"/>
                  </a:lnTo>
                  <a:lnTo>
                    <a:pt x="1116" y="1254"/>
                  </a:lnTo>
                  <a:lnTo>
                    <a:pt x="1126" y="1210"/>
                  </a:lnTo>
                  <a:lnTo>
                    <a:pt x="1092" y="1176"/>
                  </a:lnTo>
                  <a:lnTo>
                    <a:pt x="1098" y="1132"/>
                  </a:lnTo>
                  <a:lnTo>
                    <a:pt x="1082" y="1110"/>
                  </a:lnTo>
                  <a:lnTo>
                    <a:pt x="1084" y="1084"/>
                  </a:lnTo>
                  <a:lnTo>
                    <a:pt x="1064" y="1052"/>
                  </a:lnTo>
                  <a:lnTo>
                    <a:pt x="1076" y="1030"/>
                  </a:lnTo>
                  <a:lnTo>
                    <a:pt x="1074" y="1006"/>
                  </a:lnTo>
                  <a:lnTo>
                    <a:pt x="1060" y="992"/>
                  </a:lnTo>
                  <a:lnTo>
                    <a:pt x="1066" y="978"/>
                  </a:lnTo>
                  <a:lnTo>
                    <a:pt x="1074" y="962"/>
                  </a:lnTo>
                  <a:lnTo>
                    <a:pt x="1046" y="914"/>
                  </a:lnTo>
                  <a:lnTo>
                    <a:pt x="1068" y="884"/>
                  </a:lnTo>
                  <a:lnTo>
                    <a:pt x="1070" y="814"/>
                  </a:lnTo>
                  <a:lnTo>
                    <a:pt x="1054" y="802"/>
                  </a:lnTo>
                  <a:lnTo>
                    <a:pt x="1022" y="824"/>
                  </a:lnTo>
                  <a:lnTo>
                    <a:pt x="990" y="802"/>
                  </a:lnTo>
                  <a:lnTo>
                    <a:pt x="976" y="798"/>
                  </a:lnTo>
                  <a:lnTo>
                    <a:pt x="976" y="782"/>
                  </a:lnTo>
                  <a:lnTo>
                    <a:pt x="990" y="776"/>
                  </a:lnTo>
                  <a:lnTo>
                    <a:pt x="1002" y="772"/>
                  </a:lnTo>
                  <a:lnTo>
                    <a:pt x="1008" y="754"/>
                  </a:lnTo>
                  <a:lnTo>
                    <a:pt x="1016" y="744"/>
                  </a:lnTo>
                  <a:lnTo>
                    <a:pt x="1036" y="750"/>
                  </a:lnTo>
                  <a:lnTo>
                    <a:pt x="1048" y="736"/>
                  </a:lnTo>
                  <a:lnTo>
                    <a:pt x="1070" y="736"/>
                  </a:lnTo>
                  <a:lnTo>
                    <a:pt x="1094" y="706"/>
                  </a:lnTo>
                  <a:lnTo>
                    <a:pt x="1122" y="702"/>
                  </a:lnTo>
                  <a:lnTo>
                    <a:pt x="1144" y="674"/>
                  </a:lnTo>
                  <a:lnTo>
                    <a:pt x="1160" y="688"/>
                  </a:lnTo>
                  <a:lnTo>
                    <a:pt x="1176" y="676"/>
                  </a:lnTo>
                  <a:lnTo>
                    <a:pt x="1184" y="694"/>
                  </a:lnTo>
                  <a:lnTo>
                    <a:pt x="1202" y="690"/>
                  </a:lnTo>
                  <a:lnTo>
                    <a:pt x="1216" y="672"/>
                  </a:lnTo>
                  <a:lnTo>
                    <a:pt x="1234" y="686"/>
                  </a:lnTo>
                  <a:lnTo>
                    <a:pt x="1250" y="666"/>
                  </a:lnTo>
                  <a:lnTo>
                    <a:pt x="1252" y="582"/>
                  </a:lnTo>
                  <a:lnTo>
                    <a:pt x="1274" y="544"/>
                  </a:lnTo>
                  <a:lnTo>
                    <a:pt x="1240" y="506"/>
                  </a:lnTo>
                  <a:lnTo>
                    <a:pt x="1244" y="486"/>
                  </a:lnTo>
                  <a:lnTo>
                    <a:pt x="1266" y="476"/>
                  </a:lnTo>
                  <a:lnTo>
                    <a:pt x="1264" y="452"/>
                  </a:lnTo>
                  <a:lnTo>
                    <a:pt x="1238" y="430"/>
                  </a:lnTo>
                  <a:lnTo>
                    <a:pt x="1212" y="424"/>
                  </a:lnTo>
                  <a:lnTo>
                    <a:pt x="1228" y="406"/>
                  </a:lnTo>
                  <a:lnTo>
                    <a:pt x="1230" y="370"/>
                  </a:lnTo>
                  <a:lnTo>
                    <a:pt x="1202" y="396"/>
                  </a:lnTo>
                  <a:lnTo>
                    <a:pt x="1180" y="394"/>
                  </a:lnTo>
                  <a:lnTo>
                    <a:pt x="1160" y="370"/>
                  </a:lnTo>
                  <a:lnTo>
                    <a:pt x="1138" y="372"/>
                  </a:lnTo>
                  <a:lnTo>
                    <a:pt x="1116" y="344"/>
                  </a:lnTo>
                  <a:lnTo>
                    <a:pt x="1092" y="346"/>
                  </a:lnTo>
                  <a:lnTo>
                    <a:pt x="1082" y="336"/>
                  </a:lnTo>
                  <a:lnTo>
                    <a:pt x="1042" y="336"/>
                  </a:lnTo>
                  <a:lnTo>
                    <a:pt x="1020" y="354"/>
                  </a:lnTo>
                  <a:lnTo>
                    <a:pt x="996" y="332"/>
                  </a:lnTo>
                  <a:lnTo>
                    <a:pt x="984" y="308"/>
                  </a:lnTo>
                  <a:lnTo>
                    <a:pt x="964" y="294"/>
                  </a:lnTo>
                  <a:lnTo>
                    <a:pt x="950" y="296"/>
                  </a:lnTo>
                  <a:lnTo>
                    <a:pt x="938" y="278"/>
                  </a:lnTo>
                  <a:lnTo>
                    <a:pt x="950" y="264"/>
                  </a:lnTo>
                  <a:lnTo>
                    <a:pt x="934" y="254"/>
                  </a:lnTo>
                  <a:lnTo>
                    <a:pt x="898" y="238"/>
                  </a:lnTo>
                  <a:lnTo>
                    <a:pt x="882" y="190"/>
                  </a:lnTo>
                  <a:lnTo>
                    <a:pt x="848" y="218"/>
                  </a:lnTo>
                  <a:lnTo>
                    <a:pt x="854" y="234"/>
                  </a:lnTo>
                  <a:lnTo>
                    <a:pt x="834" y="254"/>
                  </a:lnTo>
                  <a:lnTo>
                    <a:pt x="802" y="210"/>
                  </a:lnTo>
                  <a:lnTo>
                    <a:pt x="812" y="194"/>
                  </a:lnTo>
                  <a:lnTo>
                    <a:pt x="792" y="148"/>
                  </a:lnTo>
                  <a:lnTo>
                    <a:pt x="768" y="138"/>
                  </a:lnTo>
                  <a:lnTo>
                    <a:pt x="734" y="150"/>
                  </a:lnTo>
                  <a:lnTo>
                    <a:pt x="722" y="138"/>
                  </a:lnTo>
                  <a:lnTo>
                    <a:pt x="700" y="162"/>
                  </a:lnTo>
                  <a:lnTo>
                    <a:pt x="678" y="142"/>
                  </a:lnTo>
                  <a:lnTo>
                    <a:pt x="668" y="158"/>
                  </a:lnTo>
                  <a:lnTo>
                    <a:pt x="646" y="150"/>
                  </a:lnTo>
                  <a:lnTo>
                    <a:pt x="628" y="146"/>
                  </a:lnTo>
                  <a:lnTo>
                    <a:pt x="616" y="106"/>
                  </a:lnTo>
                  <a:lnTo>
                    <a:pt x="602" y="86"/>
                  </a:lnTo>
                  <a:lnTo>
                    <a:pt x="510" y="30"/>
                  </a:lnTo>
                  <a:lnTo>
                    <a:pt x="426" y="34"/>
                  </a:lnTo>
                  <a:lnTo>
                    <a:pt x="388" y="108"/>
                  </a:lnTo>
                  <a:lnTo>
                    <a:pt x="312" y="84"/>
                  </a:lnTo>
                  <a:lnTo>
                    <a:pt x="262" y="0"/>
                  </a:lnTo>
                  <a:lnTo>
                    <a:pt x="128" y="124"/>
                  </a:lnTo>
                  <a:lnTo>
                    <a:pt x="32" y="42"/>
                  </a:lnTo>
                  <a:lnTo>
                    <a:pt x="0" y="44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2628" y="2101"/>
              <a:ext cx="792" cy="384"/>
            </a:xfrm>
            <a:custGeom>
              <a:avLst/>
              <a:gdLst>
                <a:gd name="T0" fmla="*/ 18 w 844"/>
                <a:gd name="T1" fmla="*/ 172 h 374"/>
                <a:gd name="T2" fmla="*/ 38 w 844"/>
                <a:gd name="T3" fmla="*/ 236 h 374"/>
                <a:gd name="T4" fmla="*/ 50 w 844"/>
                <a:gd name="T5" fmla="*/ 196 h 374"/>
                <a:gd name="T6" fmla="*/ 102 w 844"/>
                <a:gd name="T7" fmla="*/ 220 h 374"/>
                <a:gd name="T8" fmla="*/ 142 w 844"/>
                <a:gd name="T9" fmla="*/ 260 h 374"/>
                <a:gd name="T10" fmla="*/ 166 w 844"/>
                <a:gd name="T11" fmla="*/ 272 h 374"/>
                <a:gd name="T12" fmla="*/ 198 w 844"/>
                <a:gd name="T13" fmla="*/ 312 h 374"/>
                <a:gd name="T14" fmla="*/ 246 w 844"/>
                <a:gd name="T15" fmla="*/ 316 h 374"/>
                <a:gd name="T16" fmla="*/ 296 w 844"/>
                <a:gd name="T17" fmla="*/ 326 h 374"/>
                <a:gd name="T18" fmla="*/ 342 w 844"/>
                <a:gd name="T19" fmla="*/ 354 h 374"/>
                <a:gd name="T20" fmla="*/ 382 w 844"/>
                <a:gd name="T21" fmla="*/ 370 h 374"/>
                <a:gd name="T22" fmla="*/ 436 w 844"/>
                <a:gd name="T23" fmla="*/ 350 h 374"/>
                <a:gd name="T24" fmla="*/ 468 w 844"/>
                <a:gd name="T25" fmla="*/ 298 h 374"/>
                <a:gd name="T26" fmla="*/ 514 w 844"/>
                <a:gd name="T27" fmla="*/ 262 h 374"/>
                <a:gd name="T28" fmla="*/ 570 w 844"/>
                <a:gd name="T29" fmla="*/ 270 h 374"/>
                <a:gd name="T30" fmla="*/ 600 w 844"/>
                <a:gd name="T31" fmla="*/ 268 h 374"/>
                <a:gd name="T32" fmla="*/ 638 w 844"/>
                <a:gd name="T33" fmla="*/ 270 h 374"/>
                <a:gd name="T34" fmla="*/ 698 w 844"/>
                <a:gd name="T35" fmla="*/ 252 h 374"/>
                <a:gd name="T36" fmla="*/ 726 w 844"/>
                <a:gd name="T37" fmla="*/ 240 h 374"/>
                <a:gd name="T38" fmla="*/ 756 w 844"/>
                <a:gd name="T39" fmla="*/ 228 h 374"/>
                <a:gd name="T40" fmla="*/ 812 w 844"/>
                <a:gd name="T41" fmla="*/ 198 h 374"/>
                <a:gd name="T42" fmla="*/ 816 w 844"/>
                <a:gd name="T43" fmla="*/ 142 h 374"/>
                <a:gd name="T44" fmla="*/ 818 w 844"/>
                <a:gd name="T45" fmla="*/ 86 h 374"/>
                <a:gd name="T46" fmla="*/ 828 w 844"/>
                <a:gd name="T47" fmla="*/ 30 h 374"/>
                <a:gd name="T48" fmla="*/ 778 w 844"/>
                <a:gd name="T49" fmla="*/ 54 h 374"/>
                <a:gd name="T50" fmla="*/ 726 w 844"/>
                <a:gd name="T51" fmla="*/ 32 h 374"/>
                <a:gd name="T52" fmla="*/ 682 w 844"/>
                <a:gd name="T53" fmla="*/ 14 h 374"/>
                <a:gd name="T54" fmla="*/ 542 w 844"/>
                <a:gd name="T55" fmla="*/ 0 h 374"/>
                <a:gd name="T56" fmla="*/ 516 w 844"/>
                <a:gd name="T57" fmla="*/ 40 h 374"/>
                <a:gd name="T58" fmla="*/ 462 w 844"/>
                <a:gd name="T59" fmla="*/ 62 h 374"/>
                <a:gd name="T60" fmla="*/ 378 w 844"/>
                <a:gd name="T61" fmla="*/ 70 h 374"/>
                <a:gd name="T62" fmla="*/ 240 w 844"/>
                <a:gd name="T63" fmla="*/ 116 h 374"/>
                <a:gd name="T64" fmla="*/ 142 w 844"/>
                <a:gd name="T65" fmla="*/ 150 h 374"/>
                <a:gd name="T66" fmla="*/ 72 w 844"/>
                <a:gd name="T67" fmla="*/ 96 h 374"/>
                <a:gd name="T68" fmla="*/ 30 w 844"/>
                <a:gd name="T69" fmla="*/ 108 h 374"/>
                <a:gd name="T70" fmla="*/ 0 w 844"/>
                <a:gd name="T71" fmla="*/ 132 h 37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44"/>
                <a:gd name="T109" fmla="*/ 0 h 374"/>
                <a:gd name="T110" fmla="*/ 844 w 844"/>
                <a:gd name="T111" fmla="*/ 374 h 37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44" h="374">
                  <a:moveTo>
                    <a:pt x="0" y="132"/>
                  </a:moveTo>
                  <a:lnTo>
                    <a:pt x="18" y="172"/>
                  </a:lnTo>
                  <a:lnTo>
                    <a:pt x="8" y="190"/>
                  </a:lnTo>
                  <a:lnTo>
                    <a:pt x="38" y="236"/>
                  </a:lnTo>
                  <a:lnTo>
                    <a:pt x="62" y="214"/>
                  </a:lnTo>
                  <a:lnTo>
                    <a:pt x="50" y="196"/>
                  </a:lnTo>
                  <a:lnTo>
                    <a:pt x="84" y="172"/>
                  </a:lnTo>
                  <a:lnTo>
                    <a:pt x="102" y="220"/>
                  </a:lnTo>
                  <a:lnTo>
                    <a:pt x="152" y="240"/>
                  </a:lnTo>
                  <a:lnTo>
                    <a:pt x="142" y="260"/>
                  </a:lnTo>
                  <a:lnTo>
                    <a:pt x="152" y="276"/>
                  </a:lnTo>
                  <a:lnTo>
                    <a:pt x="166" y="272"/>
                  </a:lnTo>
                  <a:lnTo>
                    <a:pt x="188" y="290"/>
                  </a:lnTo>
                  <a:lnTo>
                    <a:pt x="198" y="312"/>
                  </a:lnTo>
                  <a:lnTo>
                    <a:pt x="226" y="336"/>
                  </a:lnTo>
                  <a:lnTo>
                    <a:pt x="246" y="316"/>
                  </a:lnTo>
                  <a:lnTo>
                    <a:pt x="286" y="312"/>
                  </a:lnTo>
                  <a:lnTo>
                    <a:pt x="296" y="326"/>
                  </a:lnTo>
                  <a:lnTo>
                    <a:pt x="320" y="322"/>
                  </a:lnTo>
                  <a:lnTo>
                    <a:pt x="342" y="354"/>
                  </a:lnTo>
                  <a:lnTo>
                    <a:pt x="360" y="348"/>
                  </a:lnTo>
                  <a:lnTo>
                    <a:pt x="382" y="370"/>
                  </a:lnTo>
                  <a:lnTo>
                    <a:pt x="404" y="374"/>
                  </a:lnTo>
                  <a:lnTo>
                    <a:pt x="436" y="350"/>
                  </a:lnTo>
                  <a:lnTo>
                    <a:pt x="448" y="336"/>
                  </a:lnTo>
                  <a:lnTo>
                    <a:pt x="468" y="298"/>
                  </a:lnTo>
                  <a:lnTo>
                    <a:pt x="510" y="294"/>
                  </a:lnTo>
                  <a:lnTo>
                    <a:pt x="514" y="262"/>
                  </a:lnTo>
                  <a:lnTo>
                    <a:pt x="552" y="254"/>
                  </a:lnTo>
                  <a:lnTo>
                    <a:pt x="570" y="270"/>
                  </a:lnTo>
                  <a:lnTo>
                    <a:pt x="580" y="252"/>
                  </a:lnTo>
                  <a:lnTo>
                    <a:pt x="600" y="268"/>
                  </a:lnTo>
                  <a:lnTo>
                    <a:pt x="616" y="256"/>
                  </a:lnTo>
                  <a:lnTo>
                    <a:pt x="638" y="270"/>
                  </a:lnTo>
                  <a:lnTo>
                    <a:pt x="654" y="246"/>
                  </a:lnTo>
                  <a:lnTo>
                    <a:pt x="698" y="252"/>
                  </a:lnTo>
                  <a:lnTo>
                    <a:pt x="710" y="232"/>
                  </a:lnTo>
                  <a:lnTo>
                    <a:pt x="726" y="240"/>
                  </a:lnTo>
                  <a:lnTo>
                    <a:pt x="744" y="220"/>
                  </a:lnTo>
                  <a:lnTo>
                    <a:pt x="756" y="228"/>
                  </a:lnTo>
                  <a:lnTo>
                    <a:pt x="782" y="198"/>
                  </a:lnTo>
                  <a:lnTo>
                    <a:pt x="812" y="198"/>
                  </a:lnTo>
                  <a:lnTo>
                    <a:pt x="826" y="164"/>
                  </a:lnTo>
                  <a:lnTo>
                    <a:pt x="816" y="142"/>
                  </a:lnTo>
                  <a:lnTo>
                    <a:pt x="838" y="110"/>
                  </a:lnTo>
                  <a:lnTo>
                    <a:pt x="818" y="86"/>
                  </a:lnTo>
                  <a:lnTo>
                    <a:pt x="844" y="42"/>
                  </a:lnTo>
                  <a:lnTo>
                    <a:pt x="828" y="30"/>
                  </a:lnTo>
                  <a:lnTo>
                    <a:pt x="800" y="42"/>
                  </a:lnTo>
                  <a:lnTo>
                    <a:pt x="778" y="54"/>
                  </a:lnTo>
                  <a:lnTo>
                    <a:pt x="756" y="32"/>
                  </a:lnTo>
                  <a:lnTo>
                    <a:pt x="726" y="32"/>
                  </a:lnTo>
                  <a:lnTo>
                    <a:pt x="708" y="22"/>
                  </a:lnTo>
                  <a:lnTo>
                    <a:pt x="682" y="14"/>
                  </a:lnTo>
                  <a:lnTo>
                    <a:pt x="666" y="4"/>
                  </a:lnTo>
                  <a:lnTo>
                    <a:pt x="542" y="0"/>
                  </a:lnTo>
                  <a:lnTo>
                    <a:pt x="514" y="18"/>
                  </a:lnTo>
                  <a:lnTo>
                    <a:pt x="516" y="40"/>
                  </a:lnTo>
                  <a:lnTo>
                    <a:pt x="482" y="70"/>
                  </a:lnTo>
                  <a:lnTo>
                    <a:pt x="462" y="62"/>
                  </a:lnTo>
                  <a:lnTo>
                    <a:pt x="422" y="100"/>
                  </a:lnTo>
                  <a:lnTo>
                    <a:pt x="378" y="70"/>
                  </a:lnTo>
                  <a:lnTo>
                    <a:pt x="332" y="74"/>
                  </a:lnTo>
                  <a:lnTo>
                    <a:pt x="240" y="116"/>
                  </a:lnTo>
                  <a:lnTo>
                    <a:pt x="204" y="148"/>
                  </a:lnTo>
                  <a:lnTo>
                    <a:pt x="142" y="150"/>
                  </a:lnTo>
                  <a:lnTo>
                    <a:pt x="102" y="130"/>
                  </a:lnTo>
                  <a:lnTo>
                    <a:pt x="72" y="96"/>
                  </a:lnTo>
                  <a:lnTo>
                    <a:pt x="54" y="104"/>
                  </a:lnTo>
                  <a:lnTo>
                    <a:pt x="30" y="108"/>
                  </a:lnTo>
                  <a:lnTo>
                    <a:pt x="14" y="124"/>
                  </a:lnTo>
                  <a:lnTo>
                    <a:pt x="0" y="132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696" y="1052"/>
              <a:ext cx="934" cy="745"/>
            </a:xfrm>
            <a:custGeom>
              <a:avLst/>
              <a:gdLst>
                <a:gd name="T0" fmla="*/ 112 w 996"/>
                <a:gd name="T1" fmla="*/ 146 h 724"/>
                <a:gd name="T2" fmla="*/ 200 w 996"/>
                <a:gd name="T3" fmla="*/ 182 h 724"/>
                <a:gd name="T4" fmla="*/ 250 w 996"/>
                <a:gd name="T5" fmla="*/ 146 h 724"/>
                <a:gd name="T6" fmla="*/ 326 w 996"/>
                <a:gd name="T7" fmla="*/ 10 h 724"/>
                <a:gd name="T8" fmla="*/ 340 w 996"/>
                <a:gd name="T9" fmla="*/ 106 h 724"/>
                <a:gd name="T10" fmla="*/ 490 w 996"/>
                <a:gd name="T11" fmla="*/ 44 h 724"/>
                <a:gd name="T12" fmla="*/ 598 w 996"/>
                <a:gd name="T13" fmla="*/ 0 h 724"/>
                <a:gd name="T14" fmla="*/ 698 w 996"/>
                <a:gd name="T15" fmla="*/ 118 h 724"/>
                <a:gd name="T16" fmla="*/ 838 w 996"/>
                <a:gd name="T17" fmla="*/ 30 h 724"/>
                <a:gd name="T18" fmla="*/ 896 w 996"/>
                <a:gd name="T19" fmla="*/ 254 h 724"/>
                <a:gd name="T20" fmla="*/ 964 w 996"/>
                <a:gd name="T21" fmla="*/ 322 h 724"/>
                <a:gd name="T22" fmla="*/ 978 w 996"/>
                <a:gd name="T23" fmla="*/ 422 h 724"/>
                <a:gd name="T24" fmla="*/ 996 w 996"/>
                <a:gd name="T25" fmla="*/ 482 h 724"/>
                <a:gd name="T26" fmla="*/ 950 w 996"/>
                <a:gd name="T27" fmla="*/ 504 h 724"/>
                <a:gd name="T28" fmla="*/ 868 w 996"/>
                <a:gd name="T29" fmla="*/ 534 h 724"/>
                <a:gd name="T30" fmla="*/ 788 w 996"/>
                <a:gd name="T31" fmla="*/ 606 h 724"/>
                <a:gd name="T32" fmla="*/ 732 w 996"/>
                <a:gd name="T33" fmla="*/ 648 h 724"/>
                <a:gd name="T34" fmla="*/ 656 w 996"/>
                <a:gd name="T35" fmla="*/ 674 h 724"/>
                <a:gd name="T36" fmla="*/ 598 w 996"/>
                <a:gd name="T37" fmla="*/ 692 h 724"/>
                <a:gd name="T38" fmla="*/ 550 w 996"/>
                <a:gd name="T39" fmla="*/ 646 h 724"/>
                <a:gd name="T40" fmla="*/ 458 w 996"/>
                <a:gd name="T41" fmla="*/ 672 h 724"/>
                <a:gd name="T42" fmla="*/ 400 w 996"/>
                <a:gd name="T43" fmla="*/ 694 h 724"/>
                <a:gd name="T44" fmla="*/ 348 w 996"/>
                <a:gd name="T45" fmla="*/ 694 h 724"/>
                <a:gd name="T46" fmla="*/ 306 w 996"/>
                <a:gd name="T47" fmla="*/ 710 h 724"/>
                <a:gd name="T48" fmla="*/ 278 w 996"/>
                <a:gd name="T49" fmla="*/ 724 h 724"/>
                <a:gd name="T50" fmla="*/ 236 w 996"/>
                <a:gd name="T51" fmla="*/ 702 h 724"/>
                <a:gd name="T52" fmla="*/ 192 w 996"/>
                <a:gd name="T53" fmla="*/ 686 h 724"/>
                <a:gd name="T54" fmla="*/ 168 w 996"/>
                <a:gd name="T55" fmla="*/ 682 h 724"/>
                <a:gd name="T56" fmla="*/ 110 w 996"/>
                <a:gd name="T57" fmla="*/ 652 h 724"/>
                <a:gd name="T58" fmla="*/ 66 w 996"/>
                <a:gd name="T59" fmla="*/ 660 h 724"/>
                <a:gd name="T60" fmla="*/ 42 w 996"/>
                <a:gd name="T61" fmla="*/ 662 h 724"/>
                <a:gd name="T62" fmla="*/ 34 w 996"/>
                <a:gd name="T63" fmla="*/ 620 h 724"/>
                <a:gd name="T64" fmla="*/ 0 w 996"/>
                <a:gd name="T65" fmla="*/ 568 h 724"/>
                <a:gd name="T66" fmla="*/ 84 w 996"/>
                <a:gd name="T67" fmla="*/ 534 h 724"/>
                <a:gd name="T68" fmla="*/ 130 w 996"/>
                <a:gd name="T69" fmla="*/ 520 h 724"/>
                <a:gd name="T70" fmla="*/ 150 w 996"/>
                <a:gd name="T71" fmla="*/ 434 h 724"/>
                <a:gd name="T72" fmla="*/ 118 w 996"/>
                <a:gd name="T73" fmla="*/ 312 h 724"/>
                <a:gd name="T74" fmla="*/ 136 w 996"/>
                <a:gd name="T75" fmla="*/ 288 h 724"/>
                <a:gd name="T76" fmla="*/ 86 w 996"/>
                <a:gd name="T77" fmla="*/ 224 h 724"/>
                <a:gd name="T78" fmla="*/ 82 w 996"/>
                <a:gd name="T79" fmla="*/ 182 h 7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96"/>
                <a:gd name="T121" fmla="*/ 0 h 724"/>
                <a:gd name="T122" fmla="*/ 996 w 996"/>
                <a:gd name="T123" fmla="*/ 724 h 7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96" h="724">
                  <a:moveTo>
                    <a:pt x="82" y="182"/>
                  </a:moveTo>
                  <a:lnTo>
                    <a:pt x="112" y="146"/>
                  </a:lnTo>
                  <a:lnTo>
                    <a:pt x="150" y="148"/>
                  </a:lnTo>
                  <a:lnTo>
                    <a:pt x="200" y="182"/>
                  </a:lnTo>
                  <a:lnTo>
                    <a:pt x="246" y="182"/>
                  </a:lnTo>
                  <a:lnTo>
                    <a:pt x="250" y="146"/>
                  </a:lnTo>
                  <a:lnTo>
                    <a:pt x="200" y="62"/>
                  </a:lnTo>
                  <a:lnTo>
                    <a:pt x="326" y="10"/>
                  </a:lnTo>
                  <a:lnTo>
                    <a:pt x="344" y="26"/>
                  </a:lnTo>
                  <a:lnTo>
                    <a:pt x="340" y="106"/>
                  </a:lnTo>
                  <a:lnTo>
                    <a:pt x="436" y="102"/>
                  </a:lnTo>
                  <a:lnTo>
                    <a:pt x="490" y="44"/>
                  </a:lnTo>
                  <a:lnTo>
                    <a:pt x="530" y="0"/>
                  </a:lnTo>
                  <a:lnTo>
                    <a:pt x="598" y="0"/>
                  </a:lnTo>
                  <a:lnTo>
                    <a:pt x="600" y="124"/>
                  </a:lnTo>
                  <a:lnTo>
                    <a:pt x="698" y="118"/>
                  </a:lnTo>
                  <a:lnTo>
                    <a:pt x="768" y="28"/>
                  </a:lnTo>
                  <a:lnTo>
                    <a:pt x="838" y="30"/>
                  </a:lnTo>
                  <a:lnTo>
                    <a:pt x="830" y="132"/>
                  </a:lnTo>
                  <a:lnTo>
                    <a:pt x="896" y="254"/>
                  </a:lnTo>
                  <a:lnTo>
                    <a:pt x="918" y="256"/>
                  </a:lnTo>
                  <a:lnTo>
                    <a:pt x="964" y="322"/>
                  </a:lnTo>
                  <a:lnTo>
                    <a:pt x="946" y="394"/>
                  </a:lnTo>
                  <a:lnTo>
                    <a:pt x="978" y="422"/>
                  </a:lnTo>
                  <a:lnTo>
                    <a:pt x="994" y="444"/>
                  </a:lnTo>
                  <a:lnTo>
                    <a:pt x="996" y="482"/>
                  </a:lnTo>
                  <a:lnTo>
                    <a:pt x="974" y="510"/>
                  </a:lnTo>
                  <a:lnTo>
                    <a:pt x="950" y="504"/>
                  </a:lnTo>
                  <a:lnTo>
                    <a:pt x="918" y="538"/>
                  </a:lnTo>
                  <a:lnTo>
                    <a:pt x="868" y="534"/>
                  </a:lnTo>
                  <a:lnTo>
                    <a:pt x="822" y="588"/>
                  </a:lnTo>
                  <a:lnTo>
                    <a:pt x="788" y="606"/>
                  </a:lnTo>
                  <a:lnTo>
                    <a:pt x="758" y="604"/>
                  </a:lnTo>
                  <a:lnTo>
                    <a:pt x="732" y="648"/>
                  </a:lnTo>
                  <a:lnTo>
                    <a:pt x="676" y="652"/>
                  </a:lnTo>
                  <a:lnTo>
                    <a:pt x="656" y="674"/>
                  </a:lnTo>
                  <a:lnTo>
                    <a:pt x="638" y="666"/>
                  </a:lnTo>
                  <a:lnTo>
                    <a:pt x="598" y="692"/>
                  </a:lnTo>
                  <a:lnTo>
                    <a:pt x="580" y="668"/>
                  </a:lnTo>
                  <a:lnTo>
                    <a:pt x="550" y="646"/>
                  </a:lnTo>
                  <a:lnTo>
                    <a:pt x="496" y="690"/>
                  </a:lnTo>
                  <a:lnTo>
                    <a:pt x="458" y="672"/>
                  </a:lnTo>
                  <a:lnTo>
                    <a:pt x="424" y="690"/>
                  </a:lnTo>
                  <a:lnTo>
                    <a:pt x="400" y="694"/>
                  </a:lnTo>
                  <a:lnTo>
                    <a:pt x="386" y="718"/>
                  </a:lnTo>
                  <a:lnTo>
                    <a:pt x="348" y="694"/>
                  </a:lnTo>
                  <a:lnTo>
                    <a:pt x="332" y="710"/>
                  </a:lnTo>
                  <a:lnTo>
                    <a:pt x="306" y="710"/>
                  </a:lnTo>
                  <a:lnTo>
                    <a:pt x="292" y="688"/>
                  </a:lnTo>
                  <a:lnTo>
                    <a:pt x="278" y="724"/>
                  </a:lnTo>
                  <a:lnTo>
                    <a:pt x="252" y="698"/>
                  </a:lnTo>
                  <a:lnTo>
                    <a:pt x="236" y="702"/>
                  </a:lnTo>
                  <a:lnTo>
                    <a:pt x="212" y="714"/>
                  </a:lnTo>
                  <a:lnTo>
                    <a:pt x="192" y="686"/>
                  </a:lnTo>
                  <a:lnTo>
                    <a:pt x="184" y="670"/>
                  </a:lnTo>
                  <a:lnTo>
                    <a:pt x="168" y="682"/>
                  </a:lnTo>
                  <a:lnTo>
                    <a:pt x="130" y="648"/>
                  </a:lnTo>
                  <a:lnTo>
                    <a:pt x="110" y="652"/>
                  </a:lnTo>
                  <a:lnTo>
                    <a:pt x="98" y="638"/>
                  </a:lnTo>
                  <a:lnTo>
                    <a:pt x="66" y="660"/>
                  </a:lnTo>
                  <a:lnTo>
                    <a:pt x="54" y="644"/>
                  </a:lnTo>
                  <a:lnTo>
                    <a:pt x="42" y="662"/>
                  </a:lnTo>
                  <a:lnTo>
                    <a:pt x="14" y="636"/>
                  </a:lnTo>
                  <a:lnTo>
                    <a:pt x="34" y="620"/>
                  </a:lnTo>
                  <a:lnTo>
                    <a:pt x="34" y="602"/>
                  </a:lnTo>
                  <a:lnTo>
                    <a:pt x="0" y="568"/>
                  </a:lnTo>
                  <a:lnTo>
                    <a:pt x="32" y="530"/>
                  </a:lnTo>
                  <a:lnTo>
                    <a:pt x="84" y="534"/>
                  </a:lnTo>
                  <a:lnTo>
                    <a:pt x="102" y="518"/>
                  </a:lnTo>
                  <a:lnTo>
                    <a:pt x="130" y="520"/>
                  </a:lnTo>
                  <a:lnTo>
                    <a:pt x="146" y="490"/>
                  </a:lnTo>
                  <a:lnTo>
                    <a:pt x="150" y="434"/>
                  </a:lnTo>
                  <a:lnTo>
                    <a:pt x="108" y="336"/>
                  </a:lnTo>
                  <a:lnTo>
                    <a:pt x="118" y="312"/>
                  </a:lnTo>
                  <a:lnTo>
                    <a:pt x="136" y="312"/>
                  </a:lnTo>
                  <a:lnTo>
                    <a:pt x="136" y="288"/>
                  </a:lnTo>
                  <a:lnTo>
                    <a:pt x="90" y="266"/>
                  </a:lnTo>
                  <a:lnTo>
                    <a:pt x="86" y="224"/>
                  </a:lnTo>
                  <a:lnTo>
                    <a:pt x="98" y="208"/>
                  </a:lnTo>
                  <a:lnTo>
                    <a:pt x="82" y="182"/>
                  </a:lnTo>
                  <a:close/>
                </a:path>
              </a:pathLst>
            </a:custGeom>
            <a:solidFill>
              <a:srgbClr val="EEA420"/>
            </a:solidFill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2461" y="1702"/>
              <a:ext cx="1102" cy="556"/>
            </a:xfrm>
            <a:custGeom>
              <a:avLst/>
              <a:gdLst>
                <a:gd name="T0" fmla="*/ 989 w 1174"/>
                <a:gd name="T1" fmla="*/ 32 h 540"/>
                <a:gd name="T2" fmla="*/ 1023 w 1174"/>
                <a:gd name="T3" fmla="*/ 41 h 540"/>
                <a:gd name="T4" fmla="*/ 1059 w 1174"/>
                <a:gd name="T5" fmla="*/ 51 h 540"/>
                <a:gd name="T6" fmla="*/ 1073 w 1174"/>
                <a:gd name="T7" fmla="*/ 6 h 540"/>
                <a:gd name="T8" fmla="*/ 1094 w 1174"/>
                <a:gd name="T9" fmla="*/ 8 h 540"/>
                <a:gd name="T10" fmla="*/ 1137 w 1174"/>
                <a:gd name="T11" fmla="*/ 27 h 540"/>
                <a:gd name="T12" fmla="*/ 1073 w 1174"/>
                <a:gd name="T13" fmla="*/ 101 h 540"/>
                <a:gd name="T14" fmla="*/ 1039 w 1174"/>
                <a:gd name="T15" fmla="*/ 162 h 540"/>
                <a:gd name="T16" fmla="*/ 1090 w 1174"/>
                <a:gd name="T17" fmla="*/ 207 h 540"/>
                <a:gd name="T18" fmla="*/ 1154 w 1174"/>
                <a:gd name="T19" fmla="*/ 198 h 540"/>
                <a:gd name="T20" fmla="*/ 1171 w 1174"/>
                <a:gd name="T21" fmla="*/ 243 h 540"/>
                <a:gd name="T22" fmla="*/ 1126 w 1174"/>
                <a:gd name="T23" fmla="*/ 346 h 540"/>
                <a:gd name="T24" fmla="*/ 1104 w 1174"/>
                <a:gd name="T25" fmla="*/ 380 h 540"/>
                <a:gd name="T26" fmla="*/ 1118 w 1174"/>
                <a:gd name="T27" fmla="*/ 461 h 540"/>
                <a:gd name="T28" fmla="*/ 1039 w 1174"/>
                <a:gd name="T29" fmla="*/ 478 h 540"/>
                <a:gd name="T30" fmla="*/ 1008 w 1174"/>
                <a:gd name="T31" fmla="*/ 416 h 540"/>
                <a:gd name="T32" fmla="*/ 933 w 1174"/>
                <a:gd name="T33" fmla="*/ 416 h 540"/>
                <a:gd name="T34" fmla="*/ 842 w 1174"/>
                <a:gd name="T35" fmla="*/ 390 h 540"/>
                <a:gd name="T36" fmla="*/ 694 w 1174"/>
                <a:gd name="T37" fmla="*/ 413 h 540"/>
                <a:gd name="T38" fmla="*/ 660 w 1174"/>
                <a:gd name="T39" fmla="*/ 457 h 540"/>
                <a:gd name="T40" fmla="*/ 602 w 1174"/>
                <a:gd name="T41" fmla="*/ 486 h 540"/>
                <a:gd name="T42" fmla="*/ 513 w 1174"/>
                <a:gd name="T43" fmla="*/ 464 h 540"/>
                <a:gd name="T44" fmla="*/ 381 w 1174"/>
                <a:gd name="T45" fmla="*/ 536 h 540"/>
                <a:gd name="T46" fmla="*/ 271 w 1174"/>
                <a:gd name="T47" fmla="*/ 514 h 540"/>
                <a:gd name="T48" fmla="*/ 207 w 1174"/>
                <a:gd name="T49" fmla="*/ 492 h 540"/>
                <a:gd name="T50" fmla="*/ 151 w 1174"/>
                <a:gd name="T51" fmla="*/ 504 h 540"/>
                <a:gd name="T52" fmla="*/ 99 w 1174"/>
                <a:gd name="T53" fmla="*/ 500 h 540"/>
                <a:gd name="T54" fmla="*/ 62 w 1174"/>
                <a:gd name="T55" fmla="*/ 507 h 540"/>
                <a:gd name="T56" fmla="*/ 9 w 1174"/>
                <a:gd name="T57" fmla="*/ 514 h 540"/>
                <a:gd name="T58" fmla="*/ 62 w 1174"/>
                <a:gd name="T59" fmla="*/ 462 h 540"/>
                <a:gd name="T60" fmla="*/ 36 w 1174"/>
                <a:gd name="T61" fmla="*/ 418 h 540"/>
                <a:gd name="T62" fmla="*/ 87 w 1174"/>
                <a:gd name="T63" fmla="*/ 409 h 540"/>
                <a:gd name="T64" fmla="*/ 170 w 1174"/>
                <a:gd name="T65" fmla="*/ 353 h 540"/>
                <a:gd name="T66" fmla="*/ 154 w 1174"/>
                <a:gd name="T67" fmla="*/ 262 h 540"/>
                <a:gd name="T68" fmla="*/ 190 w 1174"/>
                <a:gd name="T69" fmla="*/ 204 h 540"/>
                <a:gd name="T70" fmla="*/ 194 w 1174"/>
                <a:gd name="T71" fmla="*/ 171 h 540"/>
                <a:gd name="T72" fmla="*/ 247 w 1174"/>
                <a:gd name="T73" fmla="*/ 185 h 540"/>
                <a:gd name="T74" fmla="*/ 245 w 1174"/>
                <a:gd name="T75" fmla="*/ 138 h 540"/>
                <a:gd name="T76" fmla="*/ 252 w 1174"/>
                <a:gd name="T77" fmla="*/ 89 h 540"/>
                <a:gd name="T78" fmla="*/ 310 w 1174"/>
                <a:gd name="T79" fmla="*/ 68 h 540"/>
                <a:gd name="T80" fmla="*/ 319 w 1174"/>
                <a:gd name="T81" fmla="*/ 18 h 540"/>
                <a:gd name="T82" fmla="*/ 358 w 1174"/>
                <a:gd name="T83" fmla="*/ 22 h 540"/>
                <a:gd name="T84" fmla="*/ 417 w 1174"/>
                <a:gd name="T85" fmla="*/ 49 h 540"/>
                <a:gd name="T86" fmla="*/ 463 w 1174"/>
                <a:gd name="T87" fmla="*/ 80 h 540"/>
                <a:gd name="T88" fmla="*/ 528 w 1174"/>
                <a:gd name="T89" fmla="*/ 92 h 540"/>
                <a:gd name="T90" fmla="*/ 557 w 1174"/>
                <a:gd name="T91" fmla="*/ 82 h 540"/>
                <a:gd name="T92" fmla="*/ 597 w 1174"/>
                <a:gd name="T93" fmla="*/ 60 h 540"/>
                <a:gd name="T94" fmla="*/ 646 w 1174"/>
                <a:gd name="T95" fmla="*/ 60 h 540"/>
                <a:gd name="T96" fmla="*/ 749 w 1174"/>
                <a:gd name="T97" fmla="*/ 58 h 540"/>
                <a:gd name="T98" fmla="*/ 833 w 1174"/>
                <a:gd name="T99" fmla="*/ 41 h 540"/>
                <a:gd name="T100" fmla="*/ 890 w 1174"/>
                <a:gd name="T101" fmla="*/ 34 h 540"/>
                <a:gd name="T102" fmla="*/ 924 w 1174"/>
                <a:gd name="T103" fmla="*/ 18 h 54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174"/>
                <a:gd name="T157" fmla="*/ 0 h 540"/>
                <a:gd name="T158" fmla="*/ 1174 w 1174"/>
                <a:gd name="T159" fmla="*/ 540 h 54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174" h="540">
                  <a:moveTo>
                    <a:pt x="984" y="18"/>
                  </a:moveTo>
                  <a:lnTo>
                    <a:pt x="989" y="32"/>
                  </a:lnTo>
                  <a:lnTo>
                    <a:pt x="1006" y="18"/>
                  </a:lnTo>
                  <a:lnTo>
                    <a:pt x="1023" y="41"/>
                  </a:lnTo>
                  <a:lnTo>
                    <a:pt x="1044" y="36"/>
                  </a:lnTo>
                  <a:lnTo>
                    <a:pt x="1059" y="51"/>
                  </a:lnTo>
                  <a:lnTo>
                    <a:pt x="1075" y="37"/>
                  </a:lnTo>
                  <a:lnTo>
                    <a:pt x="1073" y="6"/>
                  </a:lnTo>
                  <a:lnTo>
                    <a:pt x="1087" y="0"/>
                  </a:lnTo>
                  <a:lnTo>
                    <a:pt x="1094" y="8"/>
                  </a:lnTo>
                  <a:lnTo>
                    <a:pt x="1130" y="10"/>
                  </a:lnTo>
                  <a:lnTo>
                    <a:pt x="1137" y="27"/>
                  </a:lnTo>
                  <a:lnTo>
                    <a:pt x="1095" y="90"/>
                  </a:lnTo>
                  <a:lnTo>
                    <a:pt x="1073" y="101"/>
                  </a:lnTo>
                  <a:lnTo>
                    <a:pt x="1075" y="128"/>
                  </a:lnTo>
                  <a:lnTo>
                    <a:pt x="1039" y="162"/>
                  </a:lnTo>
                  <a:lnTo>
                    <a:pt x="1059" y="198"/>
                  </a:lnTo>
                  <a:lnTo>
                    <a:pt x="1090" y="207"/>
                  </a:lnTo>
                  <a:lnTo>
                    <a:pt x="1126" y="183"/>
                  </a:lnTo>
                  <a:lnTo>
                    <a:pt x="1154" y="198"/>
                  </a:lnTo>
                  <a:lnTo>
                    <a:pt x="1174" y="212"/>
                  </a:lnTo>
                  <a:lnTo>
                    <a:pt x="1171" y="243"/>
                  </a:lnTo>
                  <a:lnTo>
                    <a:pt x="1123" y="308"/>
                  </a:lnTo>
                  <a:lnTo>
                    <a:pt x="1126" y="346"/>
                  </a:lnTo>
                  <a:lnTo>
                    <a:pt x="1133" y="363"/>
                  </a:lnTo>
                  <a:lnTo>
                    <a:pt x="1104" y="380"/>
                  </a:lnTo>
                  <a:lnTo>
                    <a:pt x="1095" y="435"/>
                  </a:lnTo>
                  <a:lnTo>
                    <a:pt x="1118" y="461"/>
                  </a:lnTo>
                  <a:lnTo>
                    <a:pt x="1075" y="502"/>
                  </a:lnTo>
                  <a:lnTo>
                    <a:pt x="1039" y="478"/>
                  </a:lnTo>
                  <a:lnTo>
                    <a:pt x="1025" y="426"/>
                  </a:lnTo>
                  <a:lnTo>
                    <a:pt x="1008" y="416"/>
                  </a:lnTo>
                  <a:lnTo>
                    <a:pt x="955" y="442"/>
                  </a:lnTo>
                  <a:lnTo>
                    <a:pt x="933" y="416"/>
                  </a:lnTo>
                  <a:lnTo>
                    <a:pt x="897" y="416"/>
                  </a:lnTo>
                  <a:lnTo>
                    <a:pt x="842" y="390"/>
                  </a:lnTo>
                  <a:lnTo>
                    <a:pt x="718" y="385"/>
                  </a:lnTo>
                  <a:lnTo>
                    <a:pt x="694" y="413"/>
                  </a:lnTo>
                  <a:lnTo>
                    <a:pt x="694" y="430"/>
                  </a:lnTo>
                  <a:lnTo>
                    <a:pt x="660" y="457"/>
                  </a:lnTo>
                  <a:lnTo>
                    <a:pt x="641" y="450"/>
                  </a:lnTo>
                  <a:lnTo>
                    <a:pt x="602" y="486"/>
                  </a:lnTo>
                  <a:lnTo>
                    <a:pt x="554" y="456"/>
                  </a:lnTo>
                  <a:lnTo>
                    <a:pt x="513" y="464"/>
                  </a:lnTo>
                  <a:lnTo>
                    <a:pt x="408" y="505"/>
                  </a:lnTo>
                  <a:lnTo>
                    <a:pt x="381" y="536"/>
                  </a:lnTo>
                  <a:lnTo>
                    <a:pt x="315" y="540"/>
                  </a:lnTo>
                  <a:lnTo>
                    <a:pt x="271" y="514"/>
                  </a:lnTo>
                  <a:lnTo>
                    <a:pt x="249" y="481"/>
                  </a:lnTo>
                  <a:lnTo>
                    <a:pt x="207" y="492"/>
                  </a:lnTo>
                  <a:lnTo>
                    <a:pt x="180" y="516"/>
                  </a:lnTo>
                  <a:lnTo>
                    <a:pt x="151" y="504"/>
                  </a:lnTo>
                  <a:lnTo>
                    <a:pt x="115" y="514"/>
                  </a:lnTo>
                  <a:lnTo>
                    <a:pt x="99" y="500"/>
                  </a:lnTo>
                  <a:lnTo>
                    <a:pt x="84" y="528"/>
                  </a:lnTo>
                  <a:lnTo>
                    <a:pt x="62" y="507"/>
                  </a:lnTo>
                  <a:lnTo>
                    <a:pt x="50" y="524"/>
                  </a:lnTo>
                  <a:lnTo>
                    <a:pt x="9" y="514"/>
                  </a:lnTo>
                  <a:lnTo>
                    <a:pt x="0" y="462"/>
                  </a:lnTo>
                  <a:lnTo>
                    <a:pt x="62" y="462"/>
                  </a:lnTo>
                  <a:lnTo>
                    <a:pt x="62" y="450"/>
                  </a:lnTo>
                  <a:lnTo>
                    <a:pt x="36" y="418"/>
                  </a:lnTo>
                  <a:lnTo>
                    <a:pt x="57" y="384"/>
                  </a:lnTo>
                  <a:lnTo>
                    <a:pt x="87" y="409"/>
                  </a:lnTo>
                  <a:lnTo>
                    <a:pt x="130" y="392"/>
                  </a:lnTo>
                  <a:lnTo>
                    <a:pt x="170" y="353"/>
                  </a:lnTo>
                  <a:lnTo>
                    <a:pt x="151" y="293"/>
                  </a:lnTo>
                  <a:lnTo>
                    <a:pt x="154" y="262"/>
                  </a:lnTo>
                  <a:lnTo>
                    <a:pt x="177" y="245"/>
                  </a:lnTo>
                  <a:lnTo>
                    <a:pt x="190" y="204"/>
                  </a:lnTo>
                  <a:lnTo>
                    <a:pt x="177" y="183"/>
                  </a:lnTo>
                  <a:lnTo>
                    <a:pt x="194" y="171"/>
                  </a:lnTo>
                  <a:lnTo>
                    <a:pt x="216" y="192"/>
                  </a:lnTo>
                  <a:lnTo>
                    <a:pt x="247" y="185"/>
                  </a:lnTo>
                  <a:lnTo>
                    <a:pt x="233" y="152"/>
                  </a:lnTo>
                  <a:lnTo>
                    <a:pt x="245" y="138"/>
                  </a:lnTo>
                  <a:lnTo>
                    <a:pt x="228" y="114"/>
                  </a:lnTo>
                  <a:lnTo>
                    <a:pt x="252" y="89"/>
                  </a:lnTo>
                  <a:lnTo>
                    <a:pt x="283" y="102"/>
                  </a:lnTo>
                  <a:lnTo>
                    <a:pt x="310" y="68"/>
                  </a:lnTo>
                  <a:lnTo>
                    <a:pt x="298" y="58"/>
                  </a:lnTo>
                  <a:lnTo>
                    <a:pt x="319" y="18"/>
                  </a:lnTo>
                  <a:lnTo>
                    <a:pt x="351" y="8"/>
                  </a:lnTo>
                  <a:lnTo>
                    <a:pt x="358" y="22"/>
                  </a:lnTo>
                  <a:lnTo>
                    <a:pt x="387" y="22"/>
                  </a:lnTo>
                  <a:lnTo>
                    <a:pt x="417" y="49"/>
                  </a:lnTo>
                  <a:lnTo>
                    <a:pt x="437" y="42"/>
                  </a:lnTo>
                  <a:lnTo>
                    <a:pt x="463" y="80"/>
                  </a:lnTo>
                  <a:lnTo>
                    <a:pt x="504" y="68"/>
                  </a:lnTo>
                  <a:lnTo>
                    <a:pt x="528" y="92"/>
                  </a:lnTo>
                  <a:lnTo>
                    <a:pt x="542" y="53"/>
                  </a:lnTo>
                  <a:lnTo>
                    <a:pt x="557" y="82"/>
                  </a:lnTo>
                  <a:lnTo>
                    <a:pt x="588" y="80"/>
                  </a:lnTo>
                  <a:lnTo>
                    <a:pt x="597" y="60"/>
                  </a:lnTo>
                  <a:lnTo>
                    <a:pt x="634" y="87"/>
                  </a:lnTo>
                  <a:lnTo>
                    <a:pt x="646" y="60"/>
                  </a:lnTo>
                  <a:lnTo>
                    <a:pt x="706" y="36"/>
                  </a:lnTo>
                  <a:lnTo>
                    <a:pt x="749" y="58"/>
                  </a:lnTo>
                  <a:lnTo>
                    <a:pt x="799" y="12"/>
                  </a:lnTo>
                  <a:lnTo>
                    <a:pt x="833" y="41"/>
                  </a:lnTo>
                  <a:lnTo>
                    <a:pt x="847" y="63"/>
                  </a:lnTo>
                  <a:lnTo>
                    <a:pt x="890" y="34"/>
                  </a:lnTo>
                  <a:lnTo>
                    <a:pt x="910" y="41"/>
                  </a:lnTo>
                  <a:lnTo>
                    <a:pt x="924" y="18"/>
                  </a:lnTo>
                  <a:lnTo>
                    <a:pt x="984" y="18"/>
                  </a:lnTo>
                  <a:close/>
                </a:path>
              </a:pathLst>
            </a:custGeom>
            <a:solidFill>
              <a:srgbClr val="EEA420"/>
            </a:solidFill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2739" y="1948"/>
              <a:ext cx="208" cy="218"/>
            </a:xfrm>
            <a:custGeom>
              <a:avLst/>
              <a:gdLst>
                <a:gd name="T0" fmla="*/ 0 w 222"/>
                <a:gd name="T1" fmla="*/ 142 h 212"/>
                <a:gd name="T2" fmla="*/ 34 w 222"/>
                <a:gd name="T3" fmla="*/ 96 h 212"/>
                <a:gd name="T4" fmla="*/ 28 w 222"/>
                <a:gd name="T5" fmla="*/ 64 h 212"/>
                <a:gd name="T6" fmla="*/ 50 w 222"/>
                <a:gd name="T7" fmla="*/ 42 h 212"/>
                <a:gd name="T8" fmla="*/ 56 w 222"/>
                <a:gd name="T9" fmla="*/ 28 h 212"/>
                <a:gd name="T10" fmla="*/ 72 w 222"/>
                <a:gd name="T11" fmla="*/ 26 h 212"/>
                <a:gd name="T12" fmla="*/ 96 w 222"/>
                <a:gd name="T13" fmla="*/ 4 h 212"/>
                <a:gd name="T14" fmla="*/ 160 w 222"/>
                <a:gd name="T15" fmla="*/ 0 h 212"/>
                <a:gd name="T16" fmla="*/ 180 w 222"/>
                <a:gd name="T17" fmla="*/ 24 h 212"/>
                <a:gd name="T18" fmla="*/ 174 w 222"/>
                <a:gd name="T19" fmla="*/ 54 h 212"/>
                <a:gd name="T20" fmla="*/ 220 w 222"/>
                <a:gd name="T21" fmla="*/ 106 h 212"/>
                <a:gd name="T22" fmla="*/ 222 w 222"/>
                <a:gd name="T23" fmla="*/ 166 h 212"/>
                <a:gd name="T24" fmla="*/ 198 w 222"/>
                <a:gd name="T25" fmla="*/ 194 h 212"/>
                <a:gd name="T26" fmla="*/ 170 w 222"/>
                <a:gd name="T27" fmla="*/ 186 h 212"/>
                <a:gd name="T28" fmla="*/ 142 w 222"/>
                <a:gd name="T29" fmla="*/ 206 h 212"/>
                <a:gd name="T30" fmla="*/ 116 w 222"/>
                <a:gd name="T31" fmla="*/ 212 h 212"/>
                <a:gd name="T32" fmla="*/ 96 w 222"/>
                <a:gd name="T33" fmla="*/ 186 h 212"/>
                <a:gd name="T34" fmla="*/ 78 w 222"/>
                <a:gd name="T35" fmla="*/ 188 h 212"/>
                <a:gd name="T36" fmla="*/ 64 w 222"/>
                <a:gd name="T37" fmla="*/ 166 h 212"/>
                <a:gd name="T38" fmla="*/ 66 w 222"/>
                <a:gd name="T39" fmla="*/ 150 h 212"/>
                <a:gd name="T40" fmla="*/ 58 w 222"/>
                <a:gd name="T41" fmla="*/ 136 h 212"/>
                <a:gd name="T42" fmla="*/ 36 w 222"/>
                <a:gd name="T43" fmla="*/ 142 h 212"/>
                <a:gd name="T44" fmla="*/ 22 w 222"/>
                <a:gd name="T45" fmla="*/ 156 h 212"/>
                <a:gd name="T46" fmla="*/ 8 w 222"/>
                <a:gd name="T47" fmla="*/ 158 h 212"/>
                <a:gd name="T48" fmla="*/ 0 w 222"/>
                <a:gd name="T49" fmla="*/ 142 h 21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22"/>
                <a:gd name="T76" fmla="*/ 0 h 212"/>
                <a:gd name="T77" fmla="*/ 222 w 222"/>
                <a:gd name="T78" fmla="*/ 212 h 21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22" h="212">
                  <a:moveTo>
                    <a:pt x="0" y="142"/>
                  </a:moveTo>
                  <a:lnTo>
                    <a:pt x="34" y="96"/>
                  </a:lnTo>
                  <a:lnTo>
                    <a:pt x="28" y="64"/>
                  </a:lnTo>
                  <a:lnTo>
                    <a:pt x="50" y="42"/>
                  </a:lnTo>
                  <a:lnTo>
                    <a:pt x="56" y="28"/>
                  </a:lnTo>
                  <a:lnTo>
                    <a:pt x="72" y="26"/>
                  </a:lnTo>
                  <a:lnTo>
                    <a:pt x="96" y="4"/>
                  </a:lnTo>
                  <a:lnTo>
                    <a:pt x="160" y="0"/>
                  </a:lnTo>
                  <a:lnTo>
                    <a:pt x="180" y="24"/>
                  </a:lnTo>
                  <a:lnTo>
                    <a:pt x="174" y="54"/>
                  </a:lnTo>
                  <a:lnTo>
                    <a:pt x="220" y="106"/>
                  </a:lnTo>
                  <a:lnTo>
                    <a:pt x="222" y="166"/>
                  </a:lnTo>
                  <a:lnTo>
                    <a:pt x="198" y="194"/>
                  </a:lnTo>
                  <a:lnTo>
                    <a:pt x="170" y="186"/>
                  </a:lnTo>
                  <a:lnTo>
                    <a:pt x="142" y="206"/>
                  </a:lnTo>
                  <a:lnTo>
                    <a:pt x="116" y="212"/>
                  </a:lnTo>
                  <a:lnTo>
                    <a:pt x="96" y="186"/>
                  </a:lnTo>
                  <a:lnTo>
                    <a:pt x="78" y="188"/>
                  </a:lnTo>
                  <a:lnTo>
                    <a:pt x="64" y="166"/>
                  </a:lnTo>
                  <a:lnTo>
                    <a:pt x="66" y="150"/>
                  </a:lnTo>
                  <a:lnTo>
                    <a:pt x="58" y="136"/>
                  </a:lnTo>
                  <a:lnTo>
                    <a:pt x="36" y="142"/>
                  </a:lnTo>
                  <a:lnTo>
                    <a:pt x="22" y="156"/>
                  </a:lnTo>
                  <a:lnTo>
                    <a:pt x="8" y="158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EEA420"/>
            </a:solidFill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3383" y="1338"/>
              <a:ext cx="743" cy="886"/>
            </a:xfrm>
            <a:custGeom>
              <a:avLst/>
              <a:gdLst>
                <a:gd name="T0" fmla="*/ 234 w 792"/>
                <a:gd name="T1" fmla="*/ 42 h 860"/>
                <a:gd name="T2" fmla="*/ 416 w 792"/>
                <a:gd name="T3" fmla="*/ 44 h 860"/>
                <a:gd name="T4" fmla="*/ 456 w 792"/>
                <a:gd name="T5" fmla="*/ 0 h 860"/>
                <a:gd name="T6" fmla="*/ 486 w 792"/>
                <a:gd name="T7" fmla="*/ 0 h 860"/>
                <a:gd name="T8" fmla="*/ 518 w 792"/>
                <a:gd name="T9" fmla="*/ 56 h 860"/>
                <a:gd name="T10" fmla="*/ 518 w 792"/>
                <a:gd name="T11" fmla="*/ 88 h 860"/>
                <a:gd name="T12" fmla="*/ 790 w 792"/>
                <a:gd name="T13" fmla="*/ 226 h 860"/>
                <a:gd name="T14" fmla="*/ 792 w 792"/>
                <a:gd name="T15" fmla="*/ 262 h 860"/>
                <a:gd name="T16" fmla="*/ 654 w 792"/>
                <a:gd name="T17" fmla="*/ 566 h 860"/>
                <a:gd name="T18" fmla="*/ 650 w 792"/>
                <a:gd name="T19" fmla="*/ 714 h 860"/>
                <a:gd name="T20" fmla="*/ 618 w 792"/>
                <a:gd name="T21" fmla="*/ 736 h 860"/>
                <a:gd name="T22" fmla="*/ 612 w 792"/>
                <a:gd name="T23" fmla="*/ 758 h 860"/>
                <a:gd name="T24" fmla="*/ 584 w 792"/>
                <a:gd name="T25" fmla="*/ 756 h 860"/>
                <a:gd name="T26" fmla="*/ 576 w 792"/>
                <a:gd name="T27" fmla="*/ 740 h 860"/>
                <a:gd name="T28" fmla="*/ 496 w 792"/>
                <a:gd name="T29" fmla="*/ 778 h 860"/>
                <a:gd name="T30" fmla="*/ 468 w 792"/>
                <a:gd name="T31" fmla="*/ 824 h 860"/>
                <a:gd name="T32" fmla="*/ 442 w 792"/>
                <a:gd name="T33" fmla="*/ 810 h 860"/>
                <a:gd name="T34" fmla="*/ 410 w 792"/>
                <a:gd name="T35" fmla="*/ 836 h 860"/>
                <a:gd name="T36" fmla="*/ 338 w 792"/>
                <a:gd name="T37" fmla="*/ 786 h 860"/>
                <a:gd name="T38" fmla="*/ 300 w 792"/>
                <a:gd name="T39" fmla="*/ 826 h 860"/>
                <a:gd name="T40" fmla="*/ 240 w 792"/>
                <a:gd name="T41" fmla="*/ 840 h 860"/>
                <a:gd name="T42" fmla="*/ 194 w 792"/>
                <a:gd name="T43" fmla="*/ 830 h 860"/>
                <a:gd name="T44" fmla="*/ 162 w 792"/>
                <a:gd name="T45" fmla="*/ 860 h 860"/>
                <a:gd name="T46" fmla="*/ 118 w 792"/>
                <a:gd name="T47" fmla="*/ 832 h 860"/>
                <a:gd name="T48" fmla="*/ 130 w 792"/>
                <a:gd name="T49" fmla="*/ 810 h 860"/>
                <a:gd name="T50" fmla="*/ 112 w 792"/>
                <a:gd name="T51" fmla="*/ 784 h 860"/>
                <a:gd name="T52" fmla="*/ 122 w 792"/>
                <a:gd name="T53" fmla="*/ 728 h 860"/>
                <a:gd name="T54" fmla="*/ 150 w 792"/>
                <a:gd name="T55" fmla="*/ 716 h 860"/>
                <a:gd name="T56" fmla="*/ 142 w 792"/>
                <a:gd name="T57" fmla="*/ 658 h 860"/>
                <a:gd name="T58" fmla="*/ 188 w 792"/>
                <a:gd name="T59" fmla="*/ 596 h 860"/>
                <a:gd name="T60" fmla="*/ 190 w 792"/>
                <a:gd name="T61" fmla="*/ 560 h 860"/>
                <a:gd name="T62" fmla="*/ 142 w 792"/>
                <a:gd name="T63" fmla="*/ 542 h 860"/>
                <a:gd name="T64" fmla="*/ 108 w 792"/>
                <a:gd name="T65" fmla="*/ 564 h 860"/>
                <a:gd name="T66" fmla="*/ 74 w 792"/>
                <a:gd name="T67" fmla="*/ 554 h 860"/>
                <a:gd name="T68" fmla="*/ 52 w 792"/>
                <a:gd name="T69" fmla="*/ 512 h 860"/>
                <a:gd name="T70" fmla="*/ 86 w 792"/>
                <a:gd name="T71" fmla="*/ 478 h 860"/>
                <a:gd name="T72" fmla="*/ 84 w 792"/>
                <a:gd name="T73" fmla="*/ 450 h 860"/>
                <a:gd name="T74" fmla="*/ 114 w 792"/>
                <a:gd name="T75" fmla="*/ 438 h 860"/>
                <a:gd name="T76" fmla="*/ 148 w 792"/>
                <a:gd name="T77" fmla="*/ 382 h 860"/>
                <a:gd name="T78" fmla="*/ 142 w 792"/>
                <a:gd name="T79" fmla="*/ 364 h 860"/>
                <a:gd name="T80" fmla="*/ 114 w 792"/>
                <a:gd name="T81" fmla="*/ 366 h 860"/>
                <a:gd name="T82" fmla="*/ 94 w 792"/>
                <a:gd name="T83" fmla="*/ 354 h 860"/>
                <a:gd name="T84" fmla="*/ 90 w 792"/>
                <a:gd name="T85" fmla="*/ 378 h 860"/>
                <a:gd name="T86" fmla="*/ 86 w 792"/>
                <a:gd name="T87" fmla="*/ 402 h 860"/>
                <a:gd name="T88" fmla="*/ 60 w 792"/>
                <a:gd name="T89" fmla="*/ 388 h 860"/>
                <a:gd name="T90" fmla="*/ 42 w 792"/>
                <a:gd name="T91" fmla="*/ 396 h 860"/>
                <a:gd name="T92" fmla="*/ 20 w 792"/>
                <a:gd name="T93" fmla="*/ 376 h 860"/>
                <a:gd name="T94" fmla="*/ 0 w 792"/>
                <a:gd name="T95" fmla="*/ 382 h 860"/>
                <a:gd name="T96" fmla="*/ 0 w 792"/>
                <a:gd name="T97" fmla="*/ 354 h 860"/>
                <a:gd name="T98" fmla="*/ 30 w 792"/>
                <a:gd name="T99" fmla="*/ 318 h 860"/>
                <a:gd name="T100" fmla="*/ 54 w 792"/>
                <a:gd name="T101" fmla="*/ 322 h 860"/>
                <a:gd name="T102" fmla="*/ 90 w 792"/>
                <a:gd name="T103" fmla="*/ 302 h 860"/>
                <a:gd name="T104" fmla="*/ 132 w 792"/>
                <a:gd name="T105" fmla="*/ 248 h 860"/>
                <a:gd name="T106" fmla="*/ 186 w 792"/>
                <a:gd name="T107" fmla="*/ 258 h 860"/>
                <a:gd name="T108" fmla="*/ 214 w 792"/>
                <a:gd name="T109" fmla="*/ 222 h 860"/>
                <a:gd name="T110" fmla="*/ 240 w 792"/>
                <a:gd name="T111" fmla="*/ 228 h 860"/>
                <a:gd name="T112" fmla="*/ 264 w 792"/>
                <a:gd name="T113" fmla="*/ 204 h 860"/>
                <a:gd name="T114" fmla="*/ 260 w 792"/>
                <a:gd name="T115" fmla="*/ 164 h 860"/>
                <a:gd name="T116" fmla="*/ 208 w 792"/>
                <a:gd name="T117" fmla="*/ 118 h 860"/>
                <a:gd name="T118" fmla="*/ 234 w 792"/>
                <a:gd name="T119" fmla="*/ 42 h 86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92"/>
                <a:gd name="T181" fmla="*/ 0 h 860"/>
                <a:gd name="T182" fmla="*/ 792 w 792"/>
                <a:gd name="T183" fmla="*/ 860 h 86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92" h="860">
                  <a:moveTo>
                    <a:pt x="234" y="42"/>
                  </a:moveTo>
                  <a:lnTo>
                    <a:pt x="416" y="44"/>
                  </a:lnTo>
                  <a:lnTo>
                    <a:pt x="456" y="0"/>
                  </a:lnTo>
                  <a:lnTo>
                    <a:pt x="486" y="0"/>
                  </a:lnTo>
                  <a:lnTo>
                    <a:pt x="518" y="56"/>
                  </a:lnTo>
                  <a:lnTo>
                    <a:pt x="518" y="88"/>
                  </a:lnTo>
                  <a:lnTo>
                    <a:pt x="790" y="226"/>
                  </a:lnTo>
                  <a:lnTo>
                    <a:pt x="792" y="262"/>
                  </a:lnTo>
                  <a:lnTo>
                    <a:pt x="654" y="566"/>
                  </a:lnTo>
                  <a:lnTo>
                    <a:pt x="650" y="714"/>
                  </a:lnTo>
                  <a:lnTo>
                    <a:pt x="618" y="736"/>
                  </a:lnTo>
                  <a:lnTo>
                    <a:pt x="612" y="758"/>
                  </a:lnTo>
                  <a:lnTo>
                    <a:pt x="584" y="756"/>
                  </a:lnTo>
                  <a:lnTo>
                    <a:pt x="576" y="740"/>
                  </a:lnTo>
                  <a:lnTo>
                    <a:pt x="496" y="778"/>
                  </a:lnTo>
                  <a:lnTo>
                    <a:pt x="468" y="824"/>
                  </a:lnTo>
                  <a:lnTo>
                    <a:pt x="442" y="810"/>
                  </a:lnTo>
                  <a:lnTo>
                    <a:pt x="410" y="836"/>
                  </a:lnTo>
                  <a:lnTo>
                    <a:pt x="338" y="786"/>
                  </a:lnTo>
                  <a:lnTo>
                    <a:pt x="300" y="826"/>
                  </a:lnTo>
                  <a:lnTo>
                    <a:pt x="240" y="840"/>
                  </a:lnTo>
                  <a:lnTo>
                    <a:pt x="194" y="830"/>
                  </a:lnTo>
                  <a:lnTo>
                    <a:pt x="162" y="860"/>
                  </a:lnTo>
                  <a:lnTo>
                    <a:pt x="118" y="832"/>
                  </a:lnTo>
                  <a:lnTo>
                    <a:pt x="130" y="810"/>
                  </a:lnTo>
                  <a:lnTo>
                    <a:pt x="112" y="784"/>
                  </a:lnTo>
                  <a:lnTo>
                    <a:pt x="122" y="728"/>
                  </a:lnTo>
                  <a:lnTo>
                    <a:pt x="150" y="716"/>
                  </a:lnTo>
                  <a:lnTo>
                    <a:pt x="142" y="658"/>
                  </a:lnTo>
                  <a:lnTo>
                    <a:pt x="188" y="596"/>
                  </a:lnTo>
                  <a:lnTo>
                    <a:pt x="190" y="560"/>
                  </a:lnTo>
                  <a:lnTo>
                    <a:pt x="142" y="542"/>
                  </a:lnTo>
                  <a:lnTo>
                    <a:pt x="108" y="564"/>
                  </a:lnTo>
                  <a:lnTo>
                    <a:pt x="74" y="554"/>
                  </a:lnTo>
                  <a:lnTo>
                    <a:pt x="52" y="512"/>
                  </a:lnTo>
                  <a:lnTo>
                    <a:pt x="86" y="478"/>
                  </a:lnTo>
                  <a:lnTo>
                    <a:pt x="84" y="450"/>
                  </a:lnTo>
                  <a:lnTo>
                    <a:pt x="114" y="438"/>
                  </a:lnTo>
                  <a:lnTo>
                    <a:pt x="148" y="382"/>
                  </a:lnTo>
                  <a:lnTo>
                    <a:pt x="142" y="364"/>
                  </a:lnTo>
                  <a:lnTo>
                    <a:pt x="114" y="366"/>
                  </a:lnTo>
                  <a:lnTo>
                    <a:pt x="94" y="354"/>
                  </a:lnTo>
                  <a:lnTo>
                    <a:pt x="90" y="378"/>
                  </a:lnTo>
                  <a:lnTo>
                    <a:pt x="86" y="402"/>
                  </a:lnTo>
                  <a:lnTo>
                    <a:pt x="60" y="388"/>
                  </a:lnTo>
                  <a:lnTo>
                    <a:pt x="42" y="396"/>
                  </a:lnTo>
                  <a:lnTo>
                    <a:pt x="20" y="376"/>
                  </a:lnTo>
                  <a:lnTo>
                    <a:pt x="0" y="382"/>
                  </a:lnTo>
                  <a:lnTo>
                    <a:pt x="0" y="354"/>
                  </a:lnTo>
                  <a:lnTo>
                    <a:pt x="30" y="318"/>
                  </a:lnTo>
                  <a:lnTo>
                    <a:pt x="54" y="322"/>
                  </a:lnTo>
                  <a:lnTo>
                    <a:pt x="90" y="302"/>
                  </a:lnTo>
                  <a:lnTo>
                    <a:pt x="132" y="248"/>
                  </a:lnTo>
                  <a:lnTo>
                    <a:pt x="186" y="258"/>
                  </a:lnTo>
                  <a:lnTo>
                    <a:pt x="214" y="222"/>
                  </a:lnTo>
                  <a:lnTo>
                    <a:pt x="240" y="228"/>
                  </a:lnTo>
                  <a:lnTo>
                    <a:pt x="264" y="204"/>
                  </a:lnTo>
                  <a:lnTo>
                    <a:pt x="260" y="164"/>
                  </a:lnTo>
                  <a:lnTo>
                    <a:pt x="208" y="118"/>
                  </a:lnTo>
                  <a:lnTo>
                    <a:pt x="234" y="42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3386" y="2073"/>
              <a:ext cx="1159" cy="933"/>
            </a:xfrm>
            <a:custGeom>
              <a:avLst/>
              <a:gdLst>
                <a:gd name="T0" fmla="*/ 10 w 1234"/>
                <a:gd name="T1" fmla="*/ 114 h 906"/>
                <a:gd name="T2" fmla="*/ 12 w 1234"/>
                <a:gd name="T3" fmla="*/ 164 h 906"/>
                <a:gd name="T4" fmla="*/ 4 w 1234"/>
                <a:gd name="T5" fmla="*/ 228 h 906"/>
                <a:gd name="T6" fmla="*/ 46 w 1234"/>
                <a:gd name="T7" fmla="*/ 304 h 906"/>
                <a:gd name="T8" fmla="*/ 64 w 1234"/>
                <a:gd name="T9" fmla="*/ 388 h 906"/>
                <a:gd name="T10" fmla="*/ 138 w 1234"/>
                <a:gd name="T11" fmla="*/ 442 h 906"/>
                <a:gd name="T12" fmla="*/ 192 w 1234"/>
                <a:gd name="T13" fmla="*/ 466 h 906"/>
                <a:gd name="T14" fmla="*/ 212 w 1234"/>
                <a:gd name="T15" fmla="*/ 510 h 906"/>
                <a:gd name="T16" fmla="*/ 208 w 1234"/>
                <a:gd name="T17" fmla="*/ 558 h 906"/>
                <a:gd name="T18" fmla="*/ 252 w 1234"/>
                <a:gd name="T19" fmla="*/ 576 h 906"/>
                <a:gd name="T20" fmla="*/ 278 w 1234"/>
                <a:gd name="T21" fmla="*/ 630 h 906"/>
                <a:gd name="T22" fmla="*/ 376 w 1234"/>
                <a:gd name="T23" fmla="*/ 604 h 906"/>
                <a:gd name="T24" fmla="*/ 382 w 1234"/>
                <a:gd name="T25" fmla="*/ 548 h 906"/>
                <a:gd name="T26" fmla="*/ 440 w 1234"/>
                <a:gd name="T27" fmla="*/ 566 h 906"/>
                <a:gd name="T28" fmla="*/ 490 w 1234"/>
                <a:gd name="T29" fmla="*/ 580 h 906"/>
                <a:gd name="T30" fmla="*/ 546 w 1234"/>
                <a:gd name="T31" fmla="*/ 578 h 906"/>
                <a:gd name="T32" fmla="*/ 662 w 1234"/>
                <a:gd name="T33" fmla="*/ 632 h 906"/>
                <a:gd name="T34" fmla="*/ 652 w 1234"/>
                <a:gd name="T35" fmla="*/ 696 h 906"/>
                <a:gd name="T36" fmla="*/ 688 w 1234"/>
                <a:gd name="T37" fmla="*/ 712 h 906"/>
                <a:gd name="T38" fmla="*/ 672 w 1234"/>
                <a:gd name="T39" fmla="*/ 758 h 906"/>
                <a:gd name="T40" fmla="*/ 686 w 1234"/>
                <a:gd name="T41" fmla="*/ 794 h 906"/>
                <a:gd name="T42" fmla="*/ 802 w 1234"/>
                <a:gd name="T43" fmla="*/ 756 h 906"/>
                <a:gd name="T44" fmla="*/ 802 w 1234"/>
                <a:gd name="T45" fmla="*/ 698 h 906"/>
                <a:gd name="T46" fmla="*/ 810 w 1234"/>
                <a:gd name="T47" fmla="*/ 660 h 906"/>
                <a:gd name="T48" fmla="*/ 862 w 1234"/>
                <a:gd name="T49" fmla="*/ 672 h 906"/>
                <a:gd name="T50" fmla="*/ 938 w 1234"/>
                <a:gd name="T51" fmla="*/ 704 h 906"/>
                <a:gd name="T52" fmla="*/ 940 w 1234"/>
                <a:gd name="T53" fmla="*/ 794 h 906"/>
                <a:gd name="T54" fmla="*/ 950 w 1234"/>
                <a:gd name="T55" fmla="*/ 866 h 906"/>
                <a:gd name="T56" fmla="*/ 984 w 1234"/>
                <a:gd name="T57" fmla="*/ 906 h 906"/>
                <a:gd name="T58" fmla="*/ 1072 w 1234"/>
                <a:gd name="T59" fmla="*/ 892 h 906"/>
                <a:gd name="T60" fmla="*/ 1234 w 1234"/>
                <a:gd name="T61" fmla="*/ 680 h 906"/>
                <a:gd name="T62" fmla="*/ 1088 w 1234"/>
                <a:gd name="T63" fmla="*/ 450 h 906"/>
                <a:gd name="T64" fmla="*/ 1136 w 1234"/>
                <a:gd name="T65" fmla="*/ 270 h 906"/>
                <a:gd name="T66" fmla="*/ 644 w 1234"/>
                <a:gd name="T67" fmla="*/ 72 h 906"/>
                <a:gd name="T68" fmla="*/ 612 w 1234"/>
                <a:gd name="T69" fmla="*/ 16 h 906"/>
                <a:gd name="T70" fmla="*/ 580 w 1234"/>
                <a:gd name="T71" fmla="*/ 42 h 906"/>
                <a:gd name="T72" fmla="*/ 488 w 1234"/>
                <a:gd name="T73" fmla="*/ 64 h 906"/>
                <a:gd name="T74" fmla="*/ 436 w 1234"/>
                <a:gd name="T75" fmla="*/ 92 h 906"/>
                <a:gd name="T76" fmla="*/ 332 w 1234"/>
                <a:gd name="T77" fmla="*/ 70 h 906"/>
                <a:gd name="T78" fmla="*/ 238 w 1234"/>
                <a:gd name="T79" fmla="*/ 124 h 906"/>
                <a:gd name="T80" fmla="*/ 152 w 1234"/>
                <a:gd name="T81" fmla="*/ 138 h 906"/>
                <a:gd name="T82" fmla="*/ 86 w 1234"/>
                <a:gd name="T83" fmla="*/ 134 h 906"/>
                <a:gd name="T84" fmla="*/ 36 w 1234"/>
                <a:gd name="T85" fmla="*/ 72 h 90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34"/>
                <a:gd name="T130" fmla="*/ 0 h 906"/>
                <a:gd name="T131" fmla="*/ 1234 w 1234"/>
                <a:gd name="T132" fmla="*/ 906 h 90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34" h="906">
                  <a:moveTo>
                    <a:pt x="36" y="72"/>
                  </a:moveTo>
                  <a:lnTo>
                    <a:pt x="10" y="114"/>
                  </a:lnTo>
                  <a:lnTo>
                    <a:pt x="30" y="138"/>
                  </a:lnTo>
                  <a:lnTo>
                    <a:pt x="12" y="164"/>
                  </a:lnTo>
                  <a:lnTo>
                    <a:pt x="18" y="192"/>
                  </a:lnTo>
                  <a:lnTo>
                    <a:pt x="4" y="228"/>
                  </a:lnTo>
                  <a:lnTo>
                    <a:pt x="0" y="266"/>
                  </a:lnTo>
                  <a:lnTo>
                    <a:pt x="46" y="304"/>
                  </a:lnTo>
                  <a:lnTo>
                    <a:pt x="64" y="370"/>
                  </a:lnTo>
                  <a:lnTo>
                    <a:pt x="64" y="388"/>
                  </a:lnTo>
                  <a:lnTo>
                    <a:pt x="92" y="394"/>
                  </a:lnTo>
                  <a:lnTo>
                    <a:pt x="138" y="442"/>
                  </a:lnTo>
                  <a:lnTo>
                    <a:pt x="180" y="482"/>
                  </a:lnTo>
                  <a:lnTo>
                    <a:pt x="192" y="466"/>
                  </a:lnTo>
                  <a:lnTo>
                    <a:pt x="212" y="486"/>
                  </a:lnTo>
                  <a:lnTo>
                    <a:pt x="212" y="510"/>
                  </a:lnTo>
                  <a:lnTo>
                    <a:pt x="242" y="530"/>
                  </a:lnTo>
                  <a:lnTo>
                    <a:pt x="208" y="558"/>
                  </a:lnTo>
                  <a:lnTo>
                    <a:pt x="236" y="580"/>
                  </a:lnTo>
                  <a:lnTo>
                    <a:pt x="252" y="576"/>
                  </a:lnTo>
                  <a:lnTo>
                    <a:pt x="276" y="604"/>
                  </a:lnTo>
                  <a:lnTo>
                    <a:pt x="278" y="630"/>
                  </a:lnTo>
                  <a:lnTo>
                    <a:pt x="364" y="602"/>
                  </a:lnTo>
                  <a:lnTo>
                    <a:pt x="376" y="604"/>
                  </a:lnTo>
                  <a:lnTo>
                    <a:pt x="404" y="572"/>
                  </a:lnTo>
                  <a:lnTo>
                    <a:pt x="382" y="548"/>
                  </a:lnTo>
                  <a:lnTo>
                    <a:pt x="398" y="534"/>
                  </a:lnTo>
                  <a:lnTo>
                    <a:pt x="440" y="566"/>
                  </a:lnTo>
                  <a:lnTo>
                    <a:pt x="470" y="550"/>
                  </a:lnTo>
                  <a:lnTo>
                    <a:pt x="490" y="580"/>
                  </a:lnTo>
                  <a:lnTo>
                    <a:pt x="512" y="598"/>
                  </a:lnTo>
                  <a:lnTo>
                    <a:pt x="546" y="578"/>
                  </a:lnTo>
                  <a:lnTo>
                    <a:pt x="640" y="648"/>
                  </a:lnTo>
                  <a:lnTo>
                    <a:pt x="662" y="632"/>
                  </a:lnTo>
                  <a:lnTo>
                    <a:pt x="680" y="648"/>
                  </a:lnTo>
                  <a:lnTo>
                    <a:pt x="652" y="696"/>
                  </a:lnTo>
                  <a:lnTo>
                    <a:pt x="674" y="724"/>
                  </a:lnTo>
                  <a:lnTo>
                    <a:pt x="688" y="712"/>
                  </a:lnTo>
                  <a:lnTo>
                    <a:pt x="698" y="730"/>
                  </a:lnTo>
                  <a:lnTo>
                    <a:pt x="672" y="758"/>
                  </a:lnTo>
                  <a:lnTo>
                    <a:pt x="668" y="784"/>
                  </a:lnTo>
                  <a:lnTo>
                    <a:pt x="686" y="794"/>
                  </a:lnTo>
                  <a:lnTo>
                    <a:pt x="780" y="772"/>
                  </a:lnTo>
                  <a:lnTo>
                    <a:pt x="802" y="756"/>
                  </a:lnTo>
                  <a:lnTo>
                    <a:pt x="784" y="736"/>
                  </a:lnTo>
                  <a:lnTo>
                    <a:pt x="802" y="698"/>
                  </a:lnTo>
                  <a:lnTo>
                    <a:pt x="780" y="676"/>
                  </a:lnTo>
                  <a:lnTo>
                    <a:pt x="810" y="660"/>
                  </a:lnTo>
                  <a:lnTo>
                    <a:pt x="836" y="676"/>
                  </a:lnTo>
                  <a:lnTo>
                    <a:pt x="862" y="672"/>
                  </a:lnTo>
                  <a:lnTo>
                    <a:pt x="872" y="662"/>
                  </a:lnTo>
                  <a:lnTo>
                    <a:pt x="938" y="704"/>
                  </a:lnTo>
                  <a:lnTo>
                    <a:pt x="928" y="756"/>
                  </a:lnTo>
                  <a:lnTo>
                    <a:pt x="940" y="794"/>
                  </a:lnTo>
                  <a:lnTo>
                    <a:pt x="926" y="832"/>
                  </a:lnTo>
                  <a:lnTo>
                    <a:pt x="950" y="866"/>
                  </a:lnTo>
                  <a:lnTo>
                    <a:pt x="936" y="898"/>
                  </a:lnTo>
                  <a:lnTo>
                    <a:pt x="984" y="906"/>
                  </a:lnTo>
                  <a:lnTo>
                    <a:pt x="1008" y="890"/>
                  </a:lnTo>
                  <a:lnTo>
                    <a:pt x="1072" y="892"/>
                  </a:lnTo>
                  <a:lnTo>
                    <a:pt x="1078" y="782"/>
                  </a:lnTo>
                  <a:lnTo>
                    <a:pt x="1234" y="680"/>
                  </a:lnTo>
                  <a:lnTo>
                    <a:pt x="1128" y="452"/>
                  </a:lnTo>
                  <a:lnTo>
                    <a:pt x="1088" y="450"/>
                  </a:lnTo>
                  <a:lnTo>
                    <a:pt x="1042" y="366"/>
                  </a:lnTo>
                  <a:lnTo>
                    <a:pt x="1136" y="270"/>
                  </a:lnTo>
                  <a:lnTo>
                    <a:pt x="918" y="62"/>
                  </a:lnTo>
                  <a:lnTo>
                    <a:pt x="644" y="72"/>
                  </a:lnTo>
                  <a:lnTo>
                    <a:pt x="646" y="0"/>
                  </a:lnTo>
                  <a:lnTo>
                    <a:pt x="612" y="16"/>
                  </a:lnTo>
                  <a:lnTo>
                    <a:pt x="608" y="44"/>
                  </a:lnTo>
                  <a:lnTo>
                    <a:pt x="580" y="42"/>
                  </a:lnTo>
                  <a:lnTo>
                    <a:pt x="574" y="26"/>
                  </a:lnTo>
                  <a:lnTo>
                    <a:pt x="488" y="64"/>
                  </a:lnTo>
                  <a:lnTo>
                    <a:pt x="468" y="106"/>
                  </a:lnTo>
                  <a:lnTo>
                    <a:pt x="436" y="92"/>
                  </a:lnTo>
                  <a:lnTo>
                    <a:pt x="404" y="122"/>
                  </a:lnTo>
                  <a:lnTo>
                    <a:pt x="332" y="70"/>
                  </a:lnTo>
                  <a:lnTo>
                    <a:pt x="298" y="110"/>
                  </a:lnTo>
                  <a:lnTo>
                    <a:pt x="238" y="124"/>
                  </a:lnTo>
                  <a:lnTo>
                    <a:pt x="184" y="110"/>
                  </a:lnTo>
                  <a:lnTo>
                    <a:pt x="152" y="138"/>
                  </a:lnTo>
                  <a:lnTo>
                    <a:pt x="110" y="114"/>
                  </a:lnTo>
                  <a:lnTo>
                    <a:pt x="86" y="134"/>
                  </a:lnTo>
                  <a:lnTo>
                    <a:pt x="50" y="114"/>
                  </a:lnTo>
                  <a:lnTo>
                    <a:pt x="36" y="72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2793" y="2298"/>
              <a:ext cx="952" cy="1276"/>
            </a:xfrm>
            <a:custGeom>
              <a:avLst/>
              <a:gdLst>
                <a:gd name="T0" fmla="*/ 182 w 1014"/>
                <a:gd name="T1" fmla="*/ 1036 h 1240"/>
                <a:gd name="T2" fmla="*/ 380 w 1014"/>
                <a:gd name="T3" fmla="*/ 820 h 1240"/>
                <a:gd name="T4" fmla="*/ 478 w 1014"/>
                <a:gd name="T5" fmla="*/ 982 h 1240"/>
                <a:gd name="T6" fmla="*/ 518 w 1014"/>
                <a:gd name="T7" fmla="*/ 1214 h 1240"/>
                <a:gd name="T8" fmla="*/ 634 w 1014"/>
                <a:gd name="T9" fmla="*/ 1240 h 1240"/>
                <a:gd name="T10" fmla="*/ 636 w 1014"/>
                <a:gd name="T11" fmla="*/ 1158 h 1240"/>
                <a:gd name="T12" fmla="*/ 734 w 1014"/>
                <a:gd name="T13" fmla="*/ 994 h 1240"/>
                <a:gd name="T14" fmla="*/ 670 w 1014"/>
                <a:gd name="T15" fmla="*/ 972 h 1240"/>
                <a:gd name="T16" fmla="*/ 704 w 1014"/>
                <a:gd name="T17" fmla="*/ 844 h 1240"/>
                <a:gd name="T18" fmla="*/ 788 w 1014"/>
                <a:gd name="T19" fmla="*/ 804 h 1240"/>
                <a:gd name="T20" fmla="*/ 866 w 1014"/>
                <a:gd name="T21" fmla="*/ 748 h 1240"/>
                <a:gd name="T22" fmla="*/ 840 w 1014"/>
                <a:gd name="T23" fmla="*/ 626 h 1240"/>
                <a:gd name="T24" fmla="*/ 926 w 1014"/>
                <a:gd name="T25" fmla="*/ 598 h 1240"/>
                <a:gd name="T26" fmla="*/ 998 w 1014"/>
                <a:gd name="T27" fmla="*/ 484 h 1240"/>
                <a:gd name="T28" fmla="*/ 998 w 1014"/>
                <a:gd name="T29" fmla="*/ 458 h 1240"/>
                <a:gd name="T30" fmla="*/ 1014 w 1014"/>
                <a:gd name="T31" fmla="*/ 406 h 1240"/>
                <a:gd name="T32" fmla="*/ 914 w 1014"/>
                <a:gd name="T33" fmla="*/ 404 h 1240"/>
                <a:gd name="T34" fmla="*/ 868 w 1014"/>
                <a:gd name="T35" fmla="*/ 362 h 1240"/>
                <a:gd name="T36" fmla="*/ 876 w 1014"/>
                <a:gd name="T37" fmla="*/ 304 h 1240"/>
                <a:gd name="T38" fmla="*/ 842 w 1014"/>
                <a:gd name="T39" fmla="*/ 260 h 1240"/>
                <a:gd name="T40" fmla="*/ 812 w 1014"/>
                <a:gd name="T41" fmla="*/ 262 h 1240"/>
                <a:gd name="T42" fmla="*/ 696 w 1014"/>
                <a:gd name="T43" fmla="*/ 170 h 1240"/>
                <a:gd name="T44" fmla="*/ 636 w 1014"/>
                <a:gd name="T45" fmla="*/ 44 h 1240"/>
                <a:gd name="T46" fmla="*/ 600 w 1014"/>
                <a:gd name="T47" fmla="*/ 0 h 1240"/>
                <a:gd name="T48" fmla="*/ 570 w 1014"/>
                <a:gd name="T49" fmla="*/ 20 h 1240"/>
                <a:gd name="T50" fmla="*/ 536 w 1014"/>
                <a:gd name="T51" fmla="*/ 34 h 1240"/>
                <a:gd name="T52" fmla="*/ 478 w 1014"/>
                <a:gd name="T53" fmla="*/ 50 h 1240"/>
                <a:gd name="T54" fmla="*/ 444 w 1014"/>
                <a:gd name="T55" fmla="*/ 60 h 1240"/>
                <a:gd name="T56" fmla="*/ 408 w 1014"/>
                <a:gd name="T57" fmla="*/ 56 h 1240"/>
                <a:gd name="T58" fmla="*/ 380 w 1014"/>
                <a:gd name="T59" fmla="*/ 56 h 1240"/>
                <a:gd name="T60" fmla="*/ 330 w 1014"/>
                <a:gd name="T61" fmla="*/ 104 h 1240"/>
                <a:gd name="T62" fmla="*/ 266 w 1014"/>
                <a:gd name="T63" fmla="*/ 146 h 1240"/>
                <a:gd name="T64" fmla="*/ 258 w 1014"/>
                <a:gd name="T65" fmla="*/ 190 h 1240"/>
                <a:gd name="T66" fmla="*/ 270 w 1014"/>
                <a:gd name="T67" fmla="*/ 214 h 1240"/>
                <a:gd name="T68" fmla="*/ 294 w 1014"/>
                <a:gd name="T69" fmla="*/ 266 h 1240"/>
                <a:gd name="T70" fmla="*/ 266 w 1014"/>
                <a:gd name="T71" fmla="*/ 300 h 1240"/>
                <a:gd name="T72" fmla="*/ 278 w 1014"/>
                <a:gd name="T73" fmla="*/ 370 h 1240"/>
                <a:gd name="T74" fmla="*/ 258 w 1014"/>
                <a:gd name="T75" fmla="*/ 474 h 1240"/>
                <a:gd name="T76" fmla="*/ 226 w 1014"/>
                <a:gd name="T77" fmla="*/ 478 h 1240"/>
                <a:gd name="T78" fmla="*/ 202 w 1014"/>
                <a:gd name="T79" fmla="*/ 464 h 1240"/>
                <a:gd name="T80" fmla="*/ 170 w 1014"/>
                <a:gd name="T81" fmla="*/ 460 h 1240"/>
                <a:gd name="T82" fmla="*/ 120 w 1014"/>
                <a:gd name="T83" fmla="*/ 494 h 1240"/>
                <a:gd name="T84" fmla="*/ 76 w 1014"/>
                <a:gd name="T85" fmla="*/ 520 h 1240"/>
                <a:gd name="T86" fmla="*/ 44 w 1014"/>
                <a:gd name="T87" fmla="*/ 528 h 1240"/>
                <a:gd name="T88" fmla="*/ 0 w 1014"/>
                <a:gd name="T89" fmla="*/ 568 h 1240"/>
                <a:gd name="T90" fmla="*/ 48 w 1014"/>
                <a:gd name="T91" fmla="*/ 612 h 1240"/>
                <a:gd name="T92" fmla="*/ 96 w 1014"/>
                <a:gd name="T93" fmla="*/ 602 h 1240"/>
                <a:gd name="T94" fmla="*/ 74 w 1014"/>
                <a:gd name="T95" fmla="*/ 708 h 1240"/>
                <a:gd name="T96" fmla="*/ 88 w 1014"/>
                <a:gd name="T97" fmla="*/ 782 h 1240"/>
                <a:gd name="T98" fmla="*/ 104 w 1014"/>
                <a:gd name="T99" fmla="*/ 824 h 1240"/>
                <a:gd name="T100" fmla="*/ 118 w 1014"/>
                <a:gd name="T101" fmla="*/ 878 h 1240"/>
                <a:gd name="T102" fmla="*/ 128 w 1014"/>
                <a:gd name="T103" fmla="*/ 918 h 1240"/>
                <a:gd name="T104" fmla="*/ 156 w 1014"/>
                <a:gd name="T105" fmla="*/ 1002 h 1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14"/>
                <a:gd name="T160" fmla="*/ 0 h 1240"/>
                <a:gd name="T161" fmla="*/ 1014 w 1014"/>
                <a:gd name="T162" fmla="*/ 1240 h 12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14" h="1240">
                  <a:moveTo>
                    <a:pt x="144" y="1044"/>
                  </a:moveTo>
                  <a:lnTo>
                    <a:pt x="182" y="1036"/>
                  </a:lnTo>
                  <a:lnTo>
                    <a:pt x="380" y="934"/>
                  </a:lnTo>
                  <a:lnTo>
                    <a:pt x="380" y="820"/>
                  </a:lnTo>
                  <a:lnTo>
                    <a:pt x="480" y="704"/>
                  </a:lnTo>
                  <a:lnTo>
                    <a:pt x="478" y="982"/>
                  </a:lnTo>
                  <a:lnTo>
                    <a:pt x="566" y="1080"/>
                  </a:lnTo>
                  <a:lnTo>
                    <a:pt x="518" y="1214"/>
                  </a:lnTo>
                  <a:lnTo>
                    <a:pt x="538" y="1240"/>
                  </a:lnTo>
                  <a:lnTo>
                    <a:pt x="634" y="1240"/>
                  </a:lnTo>
                  <a:lnTo>
                    <a:pt x="642" y="1188"/>
                  </a:lnTo>
                  <a:lnTo>
                    <a:pt x="636" y="1158"/>
                  </a:lnTo>
                  <a:lnTo>
                    <a:pt x="748" y="1040"/>
                  </a:lnTo>
                  <a:lnTo>
                    <a:pt x="734" y="994"/>
                  </a:lnTo>
                  <a:lnTo>
                    <a:pt x="692" y="960"/>
                  </a:lnTo>
                  <a:lnTo>
                    <a:pt x="670" y="972"/>
                  </a:lnTo>
                  <a:lnTo>
                    <a:pt x="640" y="886"/>
                  </a:lnTo>
                  <a:lnTo>
                    <a:pt x="704" y="844"/>
                  </a:lnTo>
                  <a:lnTo>
                    <a:pt x="710" y="792"/>
                  </a:lnTo>
                  <a:lnTo>
                    <a:pt x="788" y="804"/>
                  </a:lnTo>
                  <a:lnTo>
                    <a:pt x="886" y="776"/>
                  </a:lnTo>
                  <a:lnTo>
                    <a:pt x="866" y="748"/>
                  </a:lnTo>
                  <a:lnTo>
                    <a:pt x="904" y="712"/>
                  </a:lnTo>
                  <a:lnTo>
                    <a:pt x="840" y="626"/>
                  </a:lnTo>
                  <a:lnTo>
                    <a:pt x="904" y="586"/>
                  </a:lnTo>
                  <a:lnTo>
                    <a:pt x="926" y="598"/>
                  </a:lnTo>
                  <a:lnTo>
                    <a:pt x="998" y="530"/>
                  </a:lnTo>
                  <a:lnTo>
                    <a:pt x="998" y="484"/>
                  </a:lnTo>
                  <a:lnTo>
                    <a:pt x="950" y="486"/>
                  </a:lnTo>
                  <a:lnTo>
                    <a:pt x="998" y="458"/>
                  </a:lnTo>
                  <a:lnTo>
                    <a:pt x="994" y="424"/>
                  </a:lnTo>
                  <a:lnTo>
                    <a:pt x="1014" y="406"/>
                  </a:lnTo>
                  <a:lnTo>
                    <a:pt x="988" y="376"/>
                  </a:lnTo>
                  <a:lnTo>
                    <a:pt x="914" y="404"/>
                  </a:lnTo>
                  <a:lnTo>
                    <a:pt x="886" y="352"/>
                  </a:lnTo>
                  <a:lnTo>
                    <a:pt x="868" y="362"/>
                  </a:lnTo>
                  <a:lnTo>
                    <a:pt x="842" y="342"/>
                  </a:lnTo>
                  <a:lnTo>
                    <a:pt x="876" y="304"/>
                  </a:lnTo>
                  <a:lnTo>
                    <a:pt x="846" y="288"/>
                  </a:lnTo>
                  <a:lnTo>
                    <a:pt x="842" y="260"/>
                  </a:lnTo>
                  <a:lnTo>
                    <a:pt x="820" y="248"/>
                  </a:lnTo>
                  <a:lnTo>
                    <a:pt x="812" y="262"/>
                  </a:lnTo>
                  <a:lnTo>
                    <a:pt x="726" y="174"/>
                  </a:lnTo>
                  <a:lnTo>
                    <a:pt x="696" y="170"/>
                  </a:lnTo>
                  <a:lnTo>
                    <a:pt x="676" y="76"/>
                  </a:lnTo>
                  <a:lnTo>
                    <a:pt x="636" y="44"/>
                  </a:lnTo>
                  <a:lnTo>
                    <a:pt x="640" y="0"/>
                  </a:lnTo>
                  <a:lnTo>
                    <a:pt x="600" y="0"/>
                  </a:lnTo>
                  <a:lnTo>
                    <a:pt x="578" y="36"/>
                  </a:lnTo>
                  <a:lnTo>
                    <a:pt x="570" y="20"/>
                  </a:lnTo>
                  <a:lnTo>
                    <a:pt x="550" y="48"/>
                  </a:lnTo>
                  <a:lnTo>
                    <a:pt x="536" y="34"/>
                  </a:lnTo>
                  <a:lnTo>
                    <a:pt x="524" y="58"/>
                  </a:lnTo>
                  <a:lnTo>
                    <a:pt x="478" y="50"/>
                  </a:lnTo>
                  <a:lnTo>
                    <a:pt x="460" y="80"/>
                  </a:lnTo>
                  <a:lnTo>
                    <a:pt x="444" y="60"/>
                  </a:lnTo>
                  <a:lnTo>
                    <a:pt x="420" y="74"/>
                  </a:lnTo>
                  <a:lnTo>
                    <a:pt x="408" y="56"/>
                  </a:lnTo>
                  <a:lnTo>
                    <a:pt x="392" y="74"/>
                  </a:lnTo>
                  <a:lnTo>
                    <a:pt x="380" y="56"/>
                  </a:lnTo>
                  <a:lnTo>
                    <a:pt x="336" y="64"/>
                  </a:lnTo>
                  <a:lnTo>
                    <a:pt x="330" y="104"/>
                  </a:lnTo>
                  <a:lnTo>
                    <a:pt x="286" y="108"/>
                  </a:lnTo>
                  <a:lnTo>
                    <a:pt x="266" y="146"/>
                  </a:lnTo>
                  <a:lnTo>
                    <a:pt x="254" y="158"/>
                  </a:lnTo>
                  <a:lnTo>
                    <a:pt x="258" y="190"/>
                  </a:lnTo>
                  <a:lnTo>
                    <a:pt x="240" y="216"/>
                  </a:lnTo>
                  <a:lnTo>
                    <a:pt x="270" y="214"/>
                  </a:lnTo>
                  <a:lnTo>
                    <a:pt x="296" y="240"/>
                  </a:lnTo>
                  <a:lnTo>
                    <a:pt x="294" y="266"/>
                  </a:lnTo>
                  <a:lnTo>
                    <a:pt x="266" y="278"/>
                  </a:lnTo>
                  <a:lnTo>
                    <a:pt x="266" y="300"/>
                  </a:lnTo>
                  <a:lnTo>
                    <a:pt x="304" y="336"/>
                  </a:lnTo>
                  <a:lnTo>
                    <a:pt x="278" y="370"/>
                  </a:lnTo>
                  <a:lnTo>
                    <a:pt x="276" y="456"/>
                  </a:lnTo>
                  <a:lnTo>
                    <a:pt x="258" y="474"/>
                  </a:lnTo>
                  <a:lnTo>
                    <a:pt x="240" y="462"/>
                  </a:lnTo>
                  <a:lnTo>
                    <a:pt x="226" y="478"/>
                  </a:lnTo>
                  <a:lnTo>
                    <a:pt x="208" y="480"/>
                  </a:lnTo>
                  <a:lnTo>
                    <a:pt x="202" y="464"/>
                  </a:lnTo>
                  <a:lnTo>
                    <a:pt x="192" y="474"/>
                  </a:lnTo>
                  <a:lnTo>
                    <a:pt x="170" y="460"/>
                  </a:lnTo>
                  <a:lnTo>
                    <a:pt x="144" y="492"/>
                  </a:lnTo>
                  <a:lnTo>
                    <a:pt x="120" y="494"/>
                  </a:lnTo>
                  <a:lnTo>
                    <a:pt x="102" y="522"/>
                  </a:lnTo>
                  <a:lnTo>
                    <a:pt x="76" y="520"/>
                  </a:lnTo>
                  <a:lnTo>
                    <a:pt x="64" y="538"/>
                  </a:lnTo>
                  <a:lnTo>
                    <a:pt x="44" y="528"/>
                  </a:lnTo>
                  <a:lnTo>
                    <a:pt x="32" y="558"/>
                  </a:lnTo>
                  <a:lnTo>
                    <a:pt x="0" y="568"/>
                  </a:lnTo>
                  <a:lnTo>
                    <a:pt x="2" y="588"/>
                  </a:lnTo>
                  <a:lnTo>
                    <a:pt x="48" y="612"/>
                  </a:lnTo>
                  <a:lnTo>
                    <a:pt x="78" y="592"/>
                  </a:lnTo>
                  <a:lnTo>
                    <a:pt x="96" y="602"/>
                  </a:lnTo>
                  <a:lnTo>
                    <a:pt x="96" y="682"/>
                  </a:lnTo>
                  <a:lnTo>
                    <a:pt x="74" y="708"/>
                  </a:lnTo>
                  <a:lnTo>
                    <a:pt x="98" y="748"/>
                  </a:lnTo>
                  <a:lnTo>
                    <a:pt x="88" y="782"/>
                  </a:lnTo>
                  <a:lnTo>
                    <a:pt x="108" y="798"/>
                  </a:lnTo>
                  <a:lnTo>
                    <a:pt x="104" y="824"/>
                  </a:lnTo>
                  <a:lnTo>
                    <a:pt x="90" y="838"/>
                  </a:lnTo>
                  <a:lnTo>
                    <a:pt x="118" y="878"/>
                  </a:lnTo>
                  <a:lnTo>
                    <a:pt x="114" y="900"/>
                  </a:lnTo>
                  <a:lnTo>
                    <a:pt x="128" y="918"/>
                  </a:lnTo>
                  <a:lnTo>
                    <a:pt x="122" y="966"/>
                  </a:lnTo>
                  <a:lnTo>
                    <a:pt x="156" y="1002"/>
                  </a:lnTo>
                  <a:lnTo>
                    <a:pt x="144" y="1044"/>
                  </a:lnTo>
                  <a:close/>
                </a:path>
              </a:pathLst>
            </a:custGeom>
            <a:solidFill>
              <a:srgbClr val="EEA420"/>
            </a:solidFill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13"/>
            <p:cNvSpPr>
              <a:spLocks/>
            </p:cNvSpPr>
            <p:nvPr/>
          </p:nvSpPr>
          <p:spPr bwMode="auto">
            <a:xfrm>
              <a:off x="3386" y="2617"/>
              <a:ext cx="890" cy="1394"/>
            </a:xfrm>
            <a:custGeom>
              <a:avLst/>
              <a:gdLst>
                <a:gd name="T0" fmla="*/ 42 w 948"/>
                <a:gd name="T1" fmla="*/ 924 h 1354"/>
                <a:gd name="T2" fmla="*/ 296 w 948"/>
                <a:gd name="T3" fmla="*/ 1076 h 1354"/>
                <a:gd name="T4" fmla="*/ 356 w 948"/>
                <a:gd name="T5" fmla="*/ 1184 h 1354"/>
                <a:gd name="T6" fmla="*/ 788 w 948"/>
                <a:gd name="T7" fmla="*/ 1286 h 1354"/>
                <a:gd name="T8" fmla="*/ 688 w 948"/>
                <a:gd name="T9" fmla="*/ 874 h 1354"/>
                <a:gd name="T10" fmla="*/ 888 w 948"/>
                <a:gd name="T11" fmla="*/ 368 h 1354"/>
                <a:gd name="T12" fmla="*/ 948 w 948"/>
                <a:gd name="T13" fmla="*/ 336 h 1354"/>
                <a:gd name="T14" fmla="*/ 938 w 948"/>
                <a:gd name="T15" fmla="*/ 268 h 1354"/>
                <a:gd name="T16" fmla="*/ 938 w 948"/>
                <a:gd name="T17" fmla="*/ 174 h 1354"/>
                <a:gd name="T18" fmla="*/ 838 w 948"/>
                <a:gd name="T19" fmla="*/ 146 h 1354"/>
                <a:gd name="T20" fmla="*/ 780 w 948"/>
                <a:gd name="T21" fmla="*/ 144 h 1354"/>
                <a:gd name="T22" fmla="*/ 784 w 948"/>
                <a:gd name="T23" fmla="*/ 204 h 1354"/>
                <a:gd name="T24" fmla="*/ 772 w 948"/>
                <a:gd name="T25" fmla="*/ 246 h 1354"/>
                <a:gd name="T26" fmla="*/ 666 w 948"/>
                <a:gd name="T27" fmla="*/ 252 h 1354"/>
                <a:gd name="T28" fmla="*/ 696 w 948"/>
                <a:gd name="T29" fmla="*/ 196 h 1354"/>
                <a:gd name="T30" fmla="*/ 676 w 948"/>
                <a:gd name="T31" fmla="*/ 198 h 1354"/>
                <a:gd name="T32" fmla="*/ 678 w 948"/>
                <a:gd name="T33" fmla="*/ 120 h 1354"/>
                <a:gd name="T34" fmla="*/ 636 w 948"/>
                <a:gd name="T35" fmla="*/ 114 h 1354"/>
                <a:gd name="T36" fmla="*/ 510 w 948"/>
                <a:gd name="T37" fmla="*/ 66 h 1354"/>
                <a:gd name="T38" fmla="*/ 438 w 948"/>
                <a:gd name="T39" fmla="*/ 36 h 1354"/>
                <a:gd name="T40" fmla="*/ 376 w 948"/>
                <a:gd name="T41" fmla="*/ 16 h 1354"/>
                <a:gd name="T42" fmla="*/ 370 w 948"/>
                <a:gd name="T43" fmla="*/ 76 h 1354"/>
                <a:gd name="T44" fmla="*/ 360 w 948"/>
                <a:gd name="T45" fmla="*/ 108 h 1354"/>
                <a:gd name="T46" fmla="*/ 312 w 948"/>
                <a:gd name="T47" fmla="*/ 176 h 1354"/>
                <a:gd name="T48" fmla="*/ 366 w 948"/>
                <a:gd name="T49" fmla="*/ 220 h 1354"/>
                <a:gd name="T50" fmla="*/ 270 w 948"/>
                <a:gd name="T51" fmla="*/ 274 h 1354"/>
                <a:gd name="T52" fmla="*/ 274 w 948"/>
                <a:gd name="T53" fmla="*/ 406 h 1354"/>
                <a:gd name="T54" fmla="*/ 244 w 948"/>
                <a:gd name="T55" fmla="*/ 468 h 1354"/>
                <a:gd name="T56" fmla="*/ 74 w 948"/>
                <a:gd name="T57" fmla="*/ 478 h 1354"/>
                <a:gd name="T58" fmla="*/ 4 w 948"/>
                <a:gd name="T59" fmla="*/ 574 h 1354"/>
                <a:gd name="T60" fmla="*/ 58 w 948"/>
                <a:gd name="T61" fmla="*/ 644 h 1354"/>
                <a:gd name="T62" fmla="*/ 114 w 948"/>
                <a:gd name="T63" fmla="*/ 730 h 1354"/>
                <a:gd name="T64" fmla="*/ 12 w 948"/>
                <a:gd name="T65" fmla="*/ 878 h 13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48"/>
                <a:gd name="T100" fmla="*/ 0 h 1354"/>
                <a:gd name="T101" fmla="*/ 948 w 948"/>
                <a:gd name="T102" fmla="*/ 1354 h 135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48" h="1354">
                  <a:moveTo>
                    <a:pt x="8" y="930"/>
                  </a:moveTo>
                  <a:lnTo>
                    <a:pt x="42" y="924"/>
                  </a:lnTo>
                  <a:lnTo>
                    <a:pt x="176" y="1070"/>
                  </a:lnTo>
                  <a:lnTo>
                    <a:pt x="296" y="1076"/>
                  </a:lnTo>
                  <a:lnTo>
                    <a:pt x="294" y="1180"/>
                  </a:lnTo>
                  <a:lnTo>
                    <a:pt x="356" y="1184"/>
                  </a:lnTo>
                  <a:lnTo>
                    <a:pt x="446" y="1354"/>
                  </a:lnTo>
                  <a:lnTo>
                    <a:pt x="788" y="1286"/>
                  </a:lnTo>
                  <a:lnTo>
                    <a:pt x="832" y="1130"/>
                  </a:lnTo>
                  <a:lnTo>
                    <a:pt x="688" y="874"/>
                  </a:lnTo>
                  <a:lnTo>
                    <a:pt x="662" y="758"/>
                  </a:lnTo>
                  <a:lnTo>
                    <a:pt x="888" y="368"/>
                  </a:lnTo>
                  <a:lnTo>
                    <a:pt x="940" y="372"/>
                  </a:lnTo>
                  <a:lnTo>
                    <a:pt x="948" y="336"/>
                  </a:lnTo>
                  <a:lnTo>
                    <a:pt x="924" y="302"/>
                  </a:lnTo>
                  <a:lnTo>
                    <a:pt x="938" y="268"/>
                  </a:lnTo>
                  <a:lnTo>
                    <a:pt x="924" y="224"/>
                  </a:lnTo>
                  <a:lnTo>
                    <a:pt x="938" y="174"/>
                  </a:lnTo>
                  <a:lnTo>
                    <a:pt x="864" y="132"/>
                  </a:lnTo>
                  <a:lnTo>
                    <a:pt x="838" y="146"/>
                  </a:lnTo>
                  <a:lnTo>
                    <a:pt x="808" y="128"/>
                  </a:lnTo>
                  <a:lnTo>
                    <a:pt x="780" y="144"/>
                  </a:lnTo>
                  <a:lnTo>
                    <a:pt x="800" y="166"/>
                  </a:lnTo>
                  <a:lnTo>
                    <a:pt x="784" y="204"/>
                  </a:lnTo>
                  <a:lnTo>
                    <a:pt x="802" y="228"/>
                  </a:lnTo>
                  <a:lnTo>
                    <a:pt x="772" y="246"/>
                  </a:lnTo>
                  <a:lnTo>
                    <a:pt x="684" y="268"/>
                  </a:lnTo>
                  <a:lnTo>
                    <a:pt x="666" y="252"/>
                  </a:lnTo>
                  <a:lnTo>
                    <a:pt x="678" y="222"/>
                  </a:lnTo>
                  <a:lnTo>
                    <a:pt x="696" y="196"/>
                  </a:lnTo>
                  <a:lnTo>
                    <a:pt x="688" y="182"/>
                  </a:lnTo>
                  <a:lnTo>
                    <a:pt x="676" y="198"/>
                  </a:lnTo>
                  <a:lnTo>
                    <a:pt x="648" y="162"/>
                  </a:lnTo>
                  <a:lnTo>
                    <a:pt x="678" y="120"/>
                  </a:lnTo>
                  <a:lnTo>
                    <a:pt x="660" y="96"/>
                  </a:lnTo>
                  <a:lnTo>
                    <a:pt x="636" y="114"/>
                  </a:lnTo>
                  <a:lnTo>
                    <a:pt x="546" y="40"/>
                  </a:lnTo>
                  <a:lnTo>
                    <a:pt x="510" y="66"/>
                  </a:lnTo>
                  <a:lnTo>
                    <a:pt x="474" y="20"/>
                  </a:lnTo>
                  <a:lnTo>
                    <a:pt x="438" y="36"/>
                  </a:lnTo>
                  <a:lnTo>
                    <a:pt x="400" y="0"/>
                  </a:lnTo>
                  <a:lnTo>
                    <a:pt x="376" y="16"/>
                  </a:lnTo>
                  <a:lnTo>
                    <a:pt x="400" y="46"/>
                  </a:lnTo>
                  <a:lnTo>
                    <a:pt x="370" y="76"/>
                  </a:lnTo>
                  <a:lnTo>
                    <a:pt x="384" y="100"/>
                  </a:lnTo>
                  <a:lnTo>
                    <a:pt x="360" y="108"/>
                  </a:lnTo>
                  <a:lnTo>
                    <a:pt x="370" y="146"/>
                  </a:lnTo>
                  <a:lnTo>
                    <a:pt x="312" y="176"/>
                  </a:lnTo>
                  <a:lnTo>
                    <a:pt x="366" y="174"/>
                  </a:lnTo>
                  <a:lnTo>
                    <a:pt x="366" y="220"/>
                  </a:lnTo>
                  <a:lnTo>
                    <a:pt x="290" y="294"/>
                  </a:lnTo>
                  <a:lnTo>
                    <a:pt x="270" y="274"/>
                  </a:lnTo>
                  <a:lnTo>
                    <a:pt x="206" y="312"/>
                  </a:lnTo>
                  <a:lnTo>
                    <a:pt x="274" y="406"/>
                  </a:lnTo>
                  <a:lnTo>
                    <a:pt x="232" y="440"/>
                  </a:lnTo>
                  <a:lnTo>
                    <a:pt x="244" y="468"/>
                  </a:lnTo>
                  <a:lnTo>
                    <a:pt x="156" y="492"/>
                  </a:lnTo>
                  <a:lnTo>
                    <a:pt x="74" y="478"/>
                  </a:lnTo>
                  <a:lnTo>
                    <a:pt x="68" y="530"/>
                  </a:lnTo>
                  <a:lnTo>
                    <a:pt x="4" y="574"/>
                  </a:lnTo>
                  <a:lnTo>
                    <a:pt x="38" y="664"/>
                  </a:lnTo>
                  <a:lnTo>
                    <a:pt x="58" y="644"/>
                  </a:lnTo>
                  <a:lnTo>
                    <a:pt x="104" y="690"/>
                  </a:lnTo>
                  <a:lnTo>
                    <a:pt x="114" y="730"/>
                  </a:lnTo>
                  <a:lnTo>
                    <a:pt x="0" y="848"/>
                  </a:lnTo>
                  <a:lnTo>
                    <a:pt x="12" y="878"/>
                  </a:lnTo>
                  <a:lnTo>
                    <a:pt x="8" y="930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7" name="Plus 26"/>
          <p:cNvSpPr/>
          <p:nvPr/>
        </p:nvSpPr>
        <p:spPr>
          <a:xfrm>
            <a:off x="5629222" y="3766482"/>
            <a:ext cx="494661" cy="504966"/>
          </a:xfrm>
          <a:prstGeom prst="mathPlus">
            <a:avLst/>
          </a:prstGeom>
          <a:solidFill>
            <a:srgbClr val="01448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prstClr val="white"/>
              </a:solidFill>
            </a:endParaRPr>
          </a:p>
        </p:txBody>
      </p:sp>
      <p:sp>
        <p:nvSpPr>
          <p:cNvPr id="28" name="Plus 27"/>
          <p:cNvSpPr/>
          <p:nvPr/>
        </p:nvSpPr>
        <p:spPr>
          <a:xfrm>
            <a:off x="5021460" y="2727397"/>
            <a:ext cx="494661" cy="504966"/>
          </a:xfrm>
          <a:prstGeom prst="mathPlus">
            <a:avLst/>
          </a:prstGeom>
          <a:solidFill>
            <a:srgbClr val="01448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prstClr val="white"/>
              </a:solidFill>
            </a:endParaRPr>
          </a:p>
        </p:txBody>
      </p:sp>
      <p:sp>
        <p:nvSpPr>
          <p:cNvPr id="29" name="Plus 28"/>
          <p:cNvSpPr/>
          <p:nvPr/>
        </p:nvSpPr>
        <p:spPr>
          <a:xfrm>
            <a:off x="5208406" y="1680610"/>
            <a:ext cx="494661" cy="504966"/>
          </a:xfrm>
          <a:prstGeom prst="mathPlus">
            <a:avLst/>
          </a:prstGeom>
          <a:solidFill>
            <a:srgbClr val="01448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prstClr val="white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451799" y="1978619"/>
            <a:ext cx="15893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b="1" dirty="0" smtClean="0">
                <a:solidFill>
                  <a:prstClr val="black"/>
                </a:solidFill>
              </a:rPr>
              <a:t>Wommelgem</a:t>
            </a:r>
            <a:endParaRPr lang="fr-BE" sz="1200" b="1" dirty="0">
              <a:solidFill>
                <a:prstClr val="black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344888" y="2756545"/>
            <a:ext cx="815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b="1" dirty="0" smtClean="0">
                <a:solidFill>
                  <a:prstClr val="black"/>
                </a:solidFill>
              </a:rPr>
              <a:t>Vorst</a:t>
            </a:r>
            <a:endParaRPr lang="fr-BE" sz="1200" b="1" dirty="0">
              <a:solidFill>
                <a:prstClr val="black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916708" y="4109062"/>
            <a:ext cx="1301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b="1" dirty="0" err="1" smtClean="0">
                <a:solidFill>
                  <a:prstClr val="black"/>
                </a:solidFill>
              </a:rPr>
              <a:t>Floriffoux</a:t>
            </a:r>
            <a:endParaRPr lang="fr-BE" sz="1200" b="1" dirty="0">
              <a:solidFill>
                <a:prstClr val="black"/>
              </a:solidFill>
            </a:endParaRPr>
          </a:p>
        </p:txBody>
      </p:sp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18163447" flipV="1">
            <a:off x="4665051" y="2943898"/>
            <a:ext cx="495300" cy="1508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9570" name="Picture 2" descr="C:\Users\vanhunie\Desktop\Florrifoux\20140322_16395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7272" y="1450098"/>
            <a:ext cx="2615030" cy="147095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pic>
        <p:nvPicPr>
          <p:cNvPr id="38" name="Picture 1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5400000">
            <a:off x="4355127" y="3097960"/>
            <a:ext cx="514350" cy="1918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9571" name="Picture 3" descr="C:\Users\vanhunie\Desktop\Florrifoux\20140322_16511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193" y="3799930"/>
            <a:ext cx="2198926" cy="123689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pic>
        <p:nvPicPr>
          <p:cNvPr id="39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3843245">
            <a:off x="4652259" y="3765646"/>
            <a:ext cx="495300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" name="Picture 4" descr="http://yellower.se/wp-content/uploads/2011/12/note_post_it_desktop_2115x1871_wallpaper-80493.jpg"/>
          <p:cNvPicPr>
            <a:picLocks noChangeAspect="1" noChangeArrowheads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6375495" y="755992"/>
            <a:ext cx="2657529" cy="3342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/>
          <p:cNvSpPr txBox="1"/>
          <p:nvPr/>
        </p:nvSpPr>
        <p:spPr>
          <a:xfrm rot="21436747">
            <a:off x="6671411" y="1395905"/>
            <a:ext cx="22164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err="1"/>
              <a:t>Founded</a:t>
            </a:r>
            <a:r>
              <a:rPr lang="fr-BE" sz="1600" b="1" dirty="0"/>
              <a:t> in 1980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/>
              <a:t>In  </a:t>
            </a:r>
            <a:r>
              <a:rPr lang="fr-BE" sz="1600" b="1" dirty="0" err="1" smtClean="0"/>
              <a:t>Renovation</a:t>
            </a:r>
            <a:endParaRPr lang="fr-BE" sz="1600" b="1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BE" sz="16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smtClean="0"/>
              <a:t>28 dog cag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smtClean="0"/>
              <a:t>36 cat cages </a:t>
            </a:r>
            <a:br>
              <a:rPr lang="fr-BE" sz="1600" b="1" dirty="0" smtClean="0"/>
            </a:br>
            <a:r>
              <a:rPr lang="fr-BE" sz="1600" b="1" dirty="0" smtClean="0"/>
              <a:t>+ 3 chatteri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BE" sz="16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smtClean="0"/>
              <a:t>567 </a:t>
            </a:r>
            <a:r>
              <a:rPr lang="fr-BE" sz="1600" b="1" dirty="0" err="1" smtClean="0"/>
              <a:t>dogs</a:t>
            </a:r>
            <a:r>
              <a:rPr lang="fr-BE" sz="1600" b="1" dirty="0" smtClean="0"/>
              <a:t>/</a:t>
            </a:r>
            <a:r>
              <a:rPr lang="fr-BE" sz="1600" b="1" dirty="0" err="1" smtClean="0"/>
              <a:t>year</a:t>
            </a:r>
            <a:endParaRPr lang="fr-BE" sz="1600" b="1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smtClean="0"/>
              <a:t>779 cats/</a:t>
            </a:r>
            <a:r>
              <a:rPr lang="fr-BE" sz="1600" b="1" dirty="0" err="1" smtClean="0"/>
              <a:t>year</a:t>
            </a:r>
            <a:endParaRPr lang="fr-BE" sz="1600" b="1" dirty="0" smtClean="0"/>
          </a:p>
        </p:txBody>
      </p:sp>
      <p:pic>
        <p:nvPicPr>
          <p:cNvPr id="34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16"/>
          <a:stretch/>
        </p:blipFill>
        <p:spPr bwMode="auto">
          <a:xfrm>
            <a:off x="0" y="6611275"/>
            <a:ext cx="9729788" cy="8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34"/>
          <p:cNvPicPr/>
          <p:nvPr/>
        </p:nvPicPr>
        <p:blipFill>
          <a:blip r:embed="rId8"/>
          <a:stretch>
            <a:fillRect/>
          </a:stretch>
        </p:blipFill>
        <p:spPr>
          <a:xfrm>
            <a:off x="4136922" y="5035293"/>
            <a:ext cx="1434525" cy="141137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37" name="Picture 2" descr="C:\Users\vanhunie\Desktop\MARPRD0476 Template ppt A4A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258" t="72321" r="36826" b="7937"/>
          <a:stretch/>
        </p:blipFill>
        <p:spPr bwMode="auto">
          <a:xfrm>
            <a:off x="774443" y="121494"/>
            <a:ext cx="1032263" cy="1041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ounded Rectangle 39"/>
          <p:cNvSpPr/>
          <p:nvPr/>
        </p:nvSpPr>
        <p:spPr>
          <a:xfrm>
            <a:off x="2108142" y="174602"/>
            <a:ext cx="6900478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b="1" dirty="0" smtClean="0">
                <a:solidFill>
                  <a:schemeClr val="bg1"/>
                </a:solidFill>
              </a:rPr>
              <a:t>NATIONALE PARTNER – FLORIFFOUX VOOR ZUIDEN BELGIË</a:t>
            </a:r>
            <a:endParaRPr lang="nl-B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150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759487" y="1105134"/>
            <a:ext cx="1722079" cy="2252631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49964" y="1248874"/>
            <a:ext cx="1698094" cy="2452146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4" cstate="print"/>
          <a:srcRect b="8"/>
          <a:stretch>
            <a:fillRect/>
          </a:stretch>
        </p:blipFill>
        <p:spPr bwMode="auto">
          <a:xfrm>
            <a:off x="2432040" y="1740263"/>
            <a:ext cx="1960577" cy="2852518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0" name="Picture 10"/>
          <p:cNvPicPr>
            <a:picLocks noChangeAspect="1" noChangeArrowheads="1"/>
          </p:cNvPicPr>
          <p:nvPr/>
        </p:nvPicPr>
        <p:blipFill>
          <a:blip r:embed="rId5" cstate="print"/>
          <a:srcRect b="16"/>
          <a:stretch>
            <a:fillRect/>
          </a:stretch>
        </p:blipFill>
        <p:spPr bwMode="auto">
          <a:xfrm>
            <a:off x="6809110" y="2787047"/>
            <a:ext cx="2184084" cy="1783521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1" name="Picture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089030" y="3995047"/>
            <a:ext cx="1679425" cy="2224376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7" cstate="print"/>
          <a:srcRect b="82"/>
          <a:stretch>
            <a:fillRect/>
          </a:stretch>
        </p:blipFill>
        <p:spPr bwMode="auto">
          <a:xfrm>
            <a:off x="676872" y="3376393"/>
            <a:ext cx="1788256" cy="2388350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16"/>
          <a:stretch/>
        </p:blipFill>
        <p:spPr bwMode="auto">
          <a:xfrm>
            <a:off x="0" y="6611275"/>
            <a:ext cx="9729788" cy="8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 descr="C:\Users\vanhunie\Desktop\MARPRD0476 Template ppt A4A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258" t="72321" r="36826" b="7937"/>
          <a:stretch/>
        </p:blipFill>
        <p:spPr bwMode="auto">
          <a:xfrm>
            <a:off x="2481566" y="93898"/>
            <a:ext cx="1001873" cy="1011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463616" y="1595511"/>
            <a:ext cx="1814009" cy="2487023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6" name="Picture 9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329724" y="3752162"/>
            <a:ext cx="1680585" cy="2170059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7" name="Picture 8"/>
          <p:cNvPicPr>
            <a:picLocks noChangeAspect="1" noChangeArrowheads="1"/>
          </p:cNvPicPr>
          <p:nvPr/>
        </p:nvPicPr>
        <p:blipFill>
          <a:blip r:embed="rId12" cstate="print"/>
          <a:srcRect b="17"/>
          <a:stretch>
            <a:fillRect/>
          </a:stretch>
        </p:blipFill>
        <p:spPr bwMode="auto">
          <a:xfrm>
            <a:off x="2570220" y="4301567"/>
            <a:ext cx="1684215" cy="2417907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19" name="Rounded Rectangle 18"/>
          <p:cNvSpPr/>
          <p:nvPr/>
        </p:nvSpPr>
        <p:spPr>
          <a:xfrm>
            <a:off x="3665702" y="174602"/>
            <a:ext cx="5223846" cy="8109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b="1" dirty="0" smtClean="0">
                <a:solidFill>
                  <a:schemeClr val="bg1"/>
                </a:solidFill>
              </a:rPr>
              <a:t>PARTNERSHIP WITH A HEART</a:t>
            </a:r>
            <a:endParaRPr lang="nl-B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479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730" name="Picture 2" descr="http://www.blogcdn.com/www.pawnation.com/media/2013/05/115974839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4"/>
          <a:stretch/>
        </p:blipFill>
        <p:spPr bwMode="auto">
          <a:xfrm>
            <a:off x="904454" y="2462653"/>
            <a:ext cx="3822802" cy="305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732" name="Picture 4" descr="http://www.petango.com/assets/images/blog/shelterkitte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580" y="2462653"/>
            <a:ext cx="4161664" cy="305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16"/>
          <a:stretch/>
        </p:blipFill>
        <p:spPr bwMode="auto">
          <a:xfrm>
            <a:off x="0" y="6611275"/>
            <a:ext cx="9729788" cy="8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94475" y="509088"/>
            <a:ext cx="9001000" cy="2308324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nl-BE" sz="4800" b="1" dirty="0" smtClean="0">
                <a:solidFill>
                  <a:srgbClr val="FFC000"/>
                </a:solidFill>
                <a:latin typeface="Marsfont" panose="02000000000000000000" pitchFamily="2" charset="0"/>
              </a:rPr>
              <a:t>3. MAALTIJDEN INZAMELEN </a:t>
            </a:r>
          </a:p>
          <a:p>
            <a:pPr algn="ctr"/>
            <a:r>
              <a:rPr lang="nl-BE" sz="4800" b="1" dirty="0" smtClean="0">
                <a:solidFill>
                  <a:srgbClr val="A8007C"/>
                </a:solidFill>
                <a:latin typeface="Marsfont" panose="02000000000000000000" pitchFamily="2" charset="0"/>
              </a:rPr>
              <a:t>COLLECTIONNER DES REPAS</a:t>
            </a:r>
            <a:endParaRPr lang="nl-BE" sz="4800" b="1" dirty="0" smtClean="0">
              <a:solidFill>
                <a:prstClr val="black"/>
              </a:solidFill>
              <a:latin typeface="Marsfont" panose="02000000000000000000" pitchFamily="2" charset="0"/>
            </a:endParaRPr>
          </a:p>
          <a:p>
            <a:pPr algn="ctr"/>
            <a:endParaRPr lang="nl-BE" sz="4800" b="1" dirty="0" smtClean="0">
              <a:solidFill>
                <a:prstClr val="black"/>
              </a:solidFill>
              <a:latin typeface="Marsfon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3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50" y="0"/>
            <a:ext cx="9729788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ounded Rectangle 8"/>
          <p:cNvSpPr/>
          <p:nvPr/>
        </p:nvSpPr>
        <p:spPr>
          <a:xfrm>
            <a:off x="544414" y="985591"/>
            <a:ext cx="2952328" cy="4824535"/>
          </a:xfrm>
          <a:prstGeom prst="roundRect">
            <a:avLst/>
          </a:prstGeom>
          <a:noFill/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2000" b="1" dirty="0" smtClean="0">
              <a:solidFill>
                <a:srgbClr val="A8007C"/>
              </a:solidFill>
            </a:endParaRPr>
          </a:p>
          <a:p>
            <a:pPr algn="ctr"/>
            <a:endParaRPr lang="nl-BE" sz="2000" b="1" dirty="0">
              <a:solidFill>
                <a:srgbClr val="A8007C"/>
              </a:solidFill>
            </a:endParaRPr>
          </a:p>
          <a:p>
            <a:pPr algn="ctr"/>
            <a:endParaRPr lang="nl-BE" sz="2000" b="1" dirty="0" smtClean="0">
              <a:solidFill>
                <a:srgbClr val="A8007C"/>
              </a:solidFill>
            </a:endParaRPr>
          </a:p>
          <a:p>
            <a:pPr algn="ctr"/>
            <a:endParaRPr lang="nl-BE" sz="2000" b="1" dirty="0">
              <a:solidFill>
                <a:srgbClr val="A8007C"/>
              </a:solidFill>
            </a:endParaRPr>
          </a:p>
          <a:p>
            <a:pPr algn="ctr"/>
            <a:endParaRPr lang="nl-BE" sz="2000" b="1" dirty="0" smtClean="0">
              <a:solidFill>
                <a:srgbClr val="A8007C"/>
              </a:solidFill>
            </a:endParaRPr>
          </a:p>
          <a:p>
            <a:pPr algn="ctr"/>
            <a:endParaRPr lang="nl-BE" sz="2000" b="1" dirty="0" smtClean="0">
              <a:solidFill>
                <a:srgbClr val="A8007C"/>
              </a:solidFill>
            </a:endParaRPr>
          </a:p>
          <a:p>
            <a:pPr algn="ctr"/>
            <a:endParaRPr lang="nl-BE" sz="2000" b="1" dirty="0" smtClean="0">
              <a:solidFill>
                <a:srgbClr val="A8007C"/>
              </a:solidFill>
            </a:endParaRPr>
          </a:p>
          <a:p>
            <a:pPr algn="ctr"/>
            <a:endParaRPr lang="nl-BE" sz="2000" b="1" dirty="0">
              <a:solidFill>
                <a:srgbClr val="A8007C"/>
              </a:solidFill>
            </a:endParaRPr>
          </a:p>
          <a:p>
            <a:pPr algn="ctr"/>
            <a:endParaRPr lang="nl-BE" sz="2000" b="1" dirty="0" smtClean="0">
              <a:solidFill>
                <a:srgbClr val="A8007C"/>
              </a:solidFill>
            </a:endParaRPr>
          </a:p>
          <a:p>
            <a:pPr algn="ctr"/>
            <a:r>
              <a:rPr lang="nl-BE" sz="2000" b="1" dirty="0" smtClean="0">
                <a:solidFill>
                  <a:srgbClr val="A8007C"/>
                </a:solidFill>
              </a:rPr>
              <a:t>½ families in België hebben een huisdier</a:t>
            </a:r>
          </a:p>
          <a:p>
            <a:pPr algn="ctr"/>
            <a:endParaRPr lang="nl-BE" sz="2000" b="1" dirty="0" smtClean="0">
              <a:solidFill>
                <a:srgbClr val="A8007C"/>
              </a:solidFill>
            </a:endParaRPr>
          </a:p>
          <a:p>
            <a:pPr algn="ctr"/>
            <a:r>
              <a:rPr lang="nl-BE" sz="2000" b="1" dirty="0" smtClean="0">
                <a:solidFill>
                  <a:srgbClr val="FFC000"/>
                </a:solidFill>
              </a:rPr>
              <a:t>½ </a:t>
            </a:r>
            <a:r>
              <a:rPr lang="nl-BE" sz="2000" b="1" dirty="0" err="1" smtClean="0">
                <a:solidFill>
                  <a:srgbClr val="FFC000"/>
                </a:solidFill>
              </a:rPr>
              <a:t>familles</a:t>
            </a:r>
            <a:r>
              <a:rPr lang="nl-BE" sz="2000" b="1" dirty="0" smtClean="0">
                <a:solidFill>
                  <a:srgbClr val="FFC000"/>
                </a:solidFill>
              </a:rPr>
              <a:t> en </a:t>
            </a:r>
            <a:r>
              <a:rPr lang="nl-BE" sz="2000" b="1" dirty="0" err="1" smtClean="0">
                <a:solidFill>
                  <a:srgbClr val="FFC000"/>
                </a:solidFill>
              </a:rPr>
              <a:t>Belgique</a:t>
            </a:r>
            <a:r>
              <a:rPr lang="nl-BE" sz="2000" b="1" dirty="0" smtClean="0">
                <a:solidFill>
                  <a:srgbClr val="FFC000"/>
                </a:solidFill>
              </a:rPr>
              <a:t> </a:t>
            </a:r>
            <a:r>
              <a:rPr lang="nl-BE" sz="2000" b="1" dirty="0" err="1" smtClean="0">
                <a:solidFill>
                  <a:srgbClr val="FFC000"/>
                </a:solidFill>
              </a:rPr>
              <a:t>possèdent</a:t>
            </a:r>
            <a:r>
              <a:rPr lang="nl-BE" sz="2000" b="1" dirty="0" smtClean="0">
                <a:solidFill>
                  <a:srgbClr val="FFC000"/>
                </a:solidFill>
              </a:rPr>
              <a:t> </a:t>
            </a:r>
            <a:r>
              <a:rPr lang="nl-BE" sz="2000" b="1" dirty="0" err="1" smtClean="0">
                <a:solidFill>
                  <a:srgbClr val="FFC000"/>
                </a:solidFill>
              </a:rPr>
              <a:t>un</a:t>
            </a:r>
            <a:r>
              <a:rPr lang="nl-BE" sz="2000" b="1" dirty="0" smtClean="0">
                <a:solidFill>
                  <a:srgbClr val="FFC000"/>
                </a:solidFill>
              </a:rPr>
              <a:t> </a:t>
            </a:r>
            <a:r>
              <a:rPr lang="nl-BE" sz="2000" b="1" dirty="0" err="1" smtClean="0">
                <a:solidFill>
                  <a:srgbClr val="FFC000"/>
                </a:solidFill>
              </a:rPr>
              <a:t>animal</a:t>
            </a:r>
            <a:r>
              <a:rPr lang="nl-BE" sz="2000" b="1" dirty="0" smtClean="0">
                <a:solidFill>
                  <a:srgbClr val="FFC000"/>
                </a:solidFill>
              </a:rPr>
              <a:t> de compagnie</a:t>
            </a:r>
            <a:endParaRPr lang="en-US" sz="2000" b="1" dirty="0">
              <a:solidFill>
                <a:srgbClr val="FFC000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4000798" y="3217838"/>
            <a:ext cx="2520280" cy="1584176"/>
          </a:xfrm>
          <a:prstGeom prst="round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000" b="1" dirty="0" smtClean="0">
                <a:solidFill>
                  <a:srgbClr val="FFC000"/>
                </a:solidFill>
              </a:rPr>
              <a:t>1.3 </a:t>
            </a:r>
            <a:r>
              <a:rPr lang="nl-BE" sz="2000" b="1" dirty="0" err="1" smtClean="0">
                <a:solidFill>
                  <a:srgbClr val="FFC000"/>
                </a:solidFill>
              </a:rPr>
              <a:t>Mio</a:t>
            </a:r>
            <a:r>
              <a:rPr lang="nl-BE" sz="2000" b="1" dirty="0" smtClean="0">
                <a:solidFill>
                  <a:srgbClr val="FFC000"/>
                </a:solidFill>
              </a:rPr>
              <a:t> honden/</a:t>
            </a:r>
            <a:r>
              <a:rPr lang="nl-BE" sz="2000" b="1" dirty="0" err="1" smtClean="0">
                <a:solidFill>
                  <a:srgbClr val="FFC000"/>
                </a:solidFill>
              </a:rPr>
              <a:t>chiens</a:t>
            </a:r>
            <a:endParaRPr lang="nl-BE" sz="2000" b="1" dirty="0" smtClean="0">
              <a:solidFill>
                <a:srgbClr val="A8007C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3964794" y="5048534"/>
            <a:ext cx="4140460" cy="108012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000" b="1" dirty="0" err="1" smtClean="0">
                <a:solidFill>
                  <a:srgbClr val="0070C0"/>
                </a:solidFill>
              </a:rPr>
              <a:t>Whiskas</a:t>
            </a:r>
            <a:r>
              <a:rPr lang="nl-BE" sz="2000" b="1" dirty="0" smtClean="0">
                <a:solidFill>
                  <a:srgbClr val="0070C0"/>
                </a:solidFill>
              </a:rPr>
              <a:t>  # 1 - 20%  - 55 %</a:t>
            </a:r>
          </a:p>
          <a:p>
            <a:pPr algn="ctr"/>
            <a:r>
              <a:rPr lang="nl-BE" sz="2000" b="1" dirty="0" smtClean="0">
                <a:solidFill>
                  <a:srgbClr val="0070C0"/>
                </a:solidFill>
              </a:rPr>
              <a:t>Pedigree # 2 - 25%  - 45 %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6737102" y="3217838"/>
            <a:ext cx="2520280" cy="1584176"/>
          </a:xfrm>
          <a:prstGeom prst="round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000" b="1" dirty="0" smtClean="0">
                <a:solidFill>
                  <a:srgbClr val="A8007C"/>
                </a:solidFill>
              </a:rPr>
              <a:t>2.0 </a:t>
            </a:r>
            <a:r>
              <a:rPr lang="nl-BE" sz="2000" b="1" dirty="0" err="1" smtClean="0">
                <a:solidFill>
                  <a:srgbClr val="A8007C"/>
                </a:solidFill>
              </a:rPr>
              <a:t>Mio</a:t>
            </a:r>
            <a:r>
              <a:rPr lang="nl-BE" sz="2000" b="1" dirty="0" smtClean="0">
                <a:solidFill>
                  <a:srgbClr val="A8007C"/>
                </a:solidFill>
              </a:rPr>
              <a:t> katten/</a:t>
            </a:r>
            <a:r>
              <a:rPr lang="nl-BE" sz="2000" b="1" dirty="0" err="1" smtClean="0">
                <a:solidFill>
                  <a:srgbClr val="A8007C"/>
                </a:solidFill>
              </a:rPr>
              <a:t>chats</a:t>
            </a:r>
            <a:endParaRPr lang="nl-BE" sz="2000" b="1" dirty="0" smtClean="0">
              <a:solidFill>
                <a:srgbClr val="A8007C"/>
              </a:solidFill>
            </a:endParaRPr>
          </a:p>
        </p:txBody>
      </p:sp>
      <p:pic>
        <p:nvPicPr>
          <p:cNvPr id="14" name="Picture 2" descr="https://www.petprofi.de/PAF/design/mars_online/pics/landing/aBetterWorldForPets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373" t="9593" r="3628" b="55998"/>
          <a:stretch/>
        </p:blipFill>
        <p:spPr bwMode="auto">
          <a:xfrm>
            <a:off x="7795902" y="1146097"/>
            <a:ext cx="1605496" cy="1889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https://www.petprofi.de/PAF/design/mars_online/pics/landing/aBetterWorldForPets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49" r="68714" b="55998"/>
          <a:stretch/>
        </p:blipFill>
        <p:spPr bwMode="auto">
          <a:xfrm>
            <a:off x="3568750" y="1265835"/>
            <a:ext cx="1728192" cy="1807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ounded Rectangle 2"/>
          <p:cNvSpPr/>
          <p:nvPr/>
        </p:nvSpPr>
        <p:spPr>
          <a:xfrm>
            <a:off x="5152926" y="1417638"/>
            <a:ext cx="2520280" cy="158417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000" b="1" dirty="0" smtClean="0">
                <a:solidFill>
                  <a:srgbClr val="FFC000"/>
                </a:solidFill>
              </a:rPr>
              <a:t>24 % hond/</a:t>
            </a:r>
            <a:r>
              <a:rPr lang="nl-BE" sz="2000" b="1" dirty="0" err="1" smtClean="0">
                <a:solidFill>
                  <a:srgbClr val="FFC000"/>
                </a:solidFill>
              </a:rPr>
              <a:t>chien</a:t>
            </a:r>
            <a:endParaRPr lang="nl-BE" sz="2000" b="1" dirty="0" smtClean="0">
              <a:solidFill>
                <a:srgbClr val="FFC000"/>
              </a:solidFill>
            </a:endParaRPr>
          </a:p>
          <a:p>
            <a:pPr algn="ctr"/>
            <a:r>
              <a:rPr lang="nl-BE" sz="2000" b="1" dirty="0" smtClean="0">
                <a:solidFill>
                  <a:srgbClr val="A8007C"/>
                </a:solidFill>
              </a:rPr>
              <a:t>32 % kat/chat</a:t>
            </a:r>
          </a:p>
          <a:p>
            <a:pPr algn="ctr"/>
            <a:r>
              <a:rPr lang="nl-BE" sz="2000" b="1" dirty="0" smtClean="0">
                <a:solidFill>
                  <a:srgbClr val="FFC000"/>
                </a:solidFill>
              </a:rPr>
              <a:t>13 % beide/les deux</a:t>
            </a:r>
            <a:endParaRPr lang="en-US" sz="2000" b="1" dirty="0">
              <a:solidFill>
                <a:srgbClr val="FFC000"/>
              </a:solidFill>
            </a:endParaRPr>
          </a:p>
        </p:txBody>
      </p:sp>
      <p:pic>
        <p:nvPicPr>
          <p:cNvPr id="124930" name="Picture 2" descr="https://encrypted-tbn0.gstatic.com/images?q=tbn:ANd9GcSWld9wXCS2LdGIqEHyb_DWW5Wh85AAsPmbIEUnpvtEKVLzTcJAaUuWVA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478" y="1201615"/>
            <a:ext cx="1800200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1154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570" y="-22522"/>
            <a:ext cx="9729788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 descr="4101_aussie_grey_tabby_COB_06777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4974" y="3293621"/>
            <a:ext cx="6794699" cy="428666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16422" y="1273622"/>
            <a:ext cx="535522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800" b="1" dirty="0" smtClean="0">
                <a:solidFill>
                  <a:srgbClr val="FFC000"/>
                </a:solidFill>
              </a:rPr>
              <a:t>Onze overtuiging  : </a:t>
            </a:r>
          </a:p>
          <a:p>
            <a:r>
              <a:rPr lang="nl-BE" sz="2800" b="1" dirty="0" smtClean="0">
                <a:solidFill>
                  <a:srgbClr val="FFC000"/>
                </a:solidFill>
              </a:rPr>
              <a:t>huisdieren maken ons leven beter.</a:t>
            </a:r>
            <a:endParaRPr lang="en-US" sz="2800" b="1" dirty="0">
              <a:solidFill>
                <a:srgbClr val="FFC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56401" y="2281734"/>
            <a:ext cx="815696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BE" sz="2800" b="1" dirty="0" err="1" smtClean="0">
                <a:solidFill>
                  <a:srgbClr val="A8007C"/>
                </a:solidFill>
              </a:rPr>
              <a:t>Notre</a:t>
            </a:r>
            <a:r>
              <a:rPr lang="nl-BE" sz="2800" b="1" dirty="0" smtClean="0">
                <a:solidFill>
                  <a:srgbClr val="A8007C"/>
                </a:solidFill>
              </a:rPr>
              <a:t> </a:t>
            </a:r>
            <a:r>
              <a:rPr lang="nl-BE" sz="2800" b="1" dirty="0" err="1" smtClean="0">
                <a:solidFill>
                  <a:srgbClr val="A8007C"/>
                </a:solidFill>
              </a:rPr>
              <a:t>conviction</a:t>
            </a:r>
            <a:r>
              <a:rPr lang="nl-BE" sz="2800" b="1" dirty="0" smtClean="0">
                <a:solidFill>
                  <a:srgbClr val="A8007C"/>
                </a:solidFill>
              </a:rPr>
              <a:t>  : </a:t>
            </a:r>
          </a:p>
          <a:p>
            <a:pPr algn="r"/>
            <a:r>
              <a:rPr lang="nl-BE" sz="2800" b="1" dirty="0" smtClean="0">
                <a:solidFill>
                  <a:srgbClr val="A8007C"/>
                </a:solidFill>
              </a:rPr>
              <a:t>Les </a:t>
            </a:r>
            <a:r>
              <a:rPr lang="nl-BE" sz="2800" b="1" dirty="0" err="1" smtClean="0">
                <a:solidFill>
                  <a:srgbClr val="A8007C"/>
                </a:solidFill>
              </a:rPr>
              <a:t>animaux</a:t>
            </a:r>
            <a:r>
              <a:rPr lang="nl-BE" sz="2800" b="1" dirty="0" smtClean="0">
                <a:solidFill>
                  <a:srgbClr val="A8007C"/>
                </a:solidFill>
              </a:rPr>
              <a:t> de compagnie </a:t>
            </a:r>
            <a:r>
              <a:rPr lang="nl-BE" sz="2800" b="1" dirty="0" err="1" smtClean="0">
                <a:solidFill>
                  <a:srgbClr val="A8007C"/>
                </a:solidFill>
              </a:rPr>
              <a:t>améliorent</a:t>
            </a:r>
            <a:r>
              <a:rPr lang="nl-BE" sz="2800" b="1" dirty="0" smtClean="0">
                <a:solidFill>
                  <a:srgbClr val="A8007C"/>
                </a:solidFill>
              </a:rPr>
              <a:t> la </a:t>
            </a:r>
            <a:r>
              <a:rPr lang="nl-BE" sz="2800" b="1" dirty="0" err="1" smtClean="0">
                <a:solidFill>
                  <a:srgbClr val="A8007C"/>
                </a:solidFill>
              </a:rPr>
              <a:t>qualité</a:t>
            </a:r>
            <a:r>
              <a:rPr lang="nl-BE" sz="2800" b="1" dirty="0" smtClean="0">
                <a:solidFill>
                  <a:srgbClr val="A8007C"/>
                </a:solidFill>
              </a:rPr>
              <a:t> de </a:t>
            </a:r>
            <a:r>
              <a:rPr lang="nl-BE" sz="2800" b="1" dirty="0" err="1" smtClean="0">
                <a:solidFill>
                  <a:srgbClr val="A8007C"/>
                </a:solidFill>
              </a:rPr>
              <a:t>notre</a:t>
            </a:r>
            <a:r>
              <a:rPr lang="nl-BE" sz="2800" b="1" dirty="0" smtClean="0">
                <a:solidFill>
                  <a:srgbClr val="A8007C"/>
                </a:solidFill>
              </a:rPr>
              <a:t> </a:t>
            </a:r>
            <a:r>
              <a:rPr lang="nl-BE" sz="2800" b="1" dirty="0" err="1" smtClean="0">
                <a:solidFill>
                  <a:srgbClr val="A8007C"/>
                </a:solidFill>
              </a:rPr>
              <a:t>vie</a:t>
            </a:r>
            <a:r>
              <a:rPr lang="nl-BE" sz="2800" b="1" dirty="0" smtClean="0">
                <a:solidFill>
                  <a:srgbClr val="A8007C"/>
                </a:solidFill>
              </a:rPr>
              <a:t>.</a:t>
            </a:r>
            <a:endParaRPr lang="en-US" sz="2800" b="1" dirty="0">
              <a:solidFill>
                <a:srgbClr val="A8007C"/>
              </a:solidFill>
            </a:endParaRPr>
          </a:p>
        </p:txBody>
      </p:sp>
      <p:pic>
        <p:nvPicPr>
          <p:cNvPr id="10" name="Picture 4" descr="  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430" y="4895790"/>
            <a:ext cx="2880320" cy="85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48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570" y="-22522"/>
            <a:ext cx="9729788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 descr="86517581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19092" y="935632"/>
            <a:ext cx="3311525" cy="220503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 descr="shutterstock_47262280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80718" y="1417638"/>
            <a:ext cx="2222525" cy="29860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 descr="shutterstock_75712942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08710" y="4583657"/>
            <a:ext cx="2827065" cy="21980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Picture 12" descr="shutterstock_69282784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84928" y="3820706"/>
            <a:ext cx="2807052" cy="187208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Picture 13" descr="shutterstock_50863810.jpg"/>
          <p:cNvPicPr>
            <a:picLocks noChangeAspect="1"/>
          </p:cNvPicPr>
          <p:nvPr/>
        </p:nvPicPr>
        <p:blipFill>
          <a:blip r:embed="rId7" cstate="print"/>
          <a:srcRect r="62" b="50"/>
          <a:stretch>
            <a:fillRect/>
          </a:stretch>
        </p:blipFill>
        <p:spPr bwMode="auto">
          <a:xfrm>
            <a:off x="5503243" y="2715170"/>
            <a:ext cx="1471612" cy="186848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5" name="Rounded Rectangle 14"/>
          <p:cNvSpPr/>
          <p:nvPr/>
        </p:nvSpPr>
        <p:spPr>
          <a:xfrm>
            <a:off x="7169150" y="3326554"/>
            <a:ext cx="2016224" cy="2514205"/>
          </a:xfrm>
          <a:prstGeom prst="roundRect">
            <a:avLst/>
          </a:prstGeom>
          <a:solidFill>
            <a:srgbClr val="FFC000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Des </a:t>
            </a:r>
            <a:r>
              <a:rPr lang="en-US" b="1" dirty="0" err="1">
                <a:solidFill>
                  <a:schemeClr val="tx1"/>
                </a:solidFill>
              </a:rPr>
              <a:t>avantages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vrais</a:t>
            </a:r>
            <a:r>
              <a:rPr lang="en-US" b="1" dirty="0">
                <a:solidFill>
                  <a:schemeClr val="tx1"/>
                </a:solidFill>
              </a:rPr>
              <a:t> et tangibles par des </a:t>
            </a:r>
            <a:r>
              <a:rPr lang="en-US" b="1" dirty="0" err="1">
                <a:solidFill>
                  <a:schemeClr val="tx1"/>
                </a:solidFill>
              </a:rPr>
              <a:t>animaux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b="1" dirty="0" err="1">
                <a:solidFill>
                  <a:schemeClr val="tx1"/>
                </a:solidFill>
              </a:rPr>
              <a:t>domestiques</a:t>
            </a:r>
            <a:r>
              <a:rPr lang="en-US" b="1" dirty="0">
                <a:solidFill>
                  <a:schemeClr val="tx1"/>
                </a:solidFill>
              </a:rPr>
              <a:t> pour des </a:t>
            </a:r>
            <a:r>
              <a:rPr lang="en-US" b="1" dirty="0" err="1">
                <a:solidFill>
                  <a:schemeClr val="tx1"/>
                </a:solidFill>
              </a:rPr>
              <a:t>individus</a:t>
            </a:r>
            <a:r>
              <a:rPr lang="en-US" b="1" dirty="0">
                <a:solidFill>
                  <a:schemeClr val="tx1"/>
                </a:solidFill>
              </a:rPr>
              <a:t> et des </a:t>
            </a:r>
            <a:r>
              <a:rPr lang="en-US" b="1" dirty="0" err="1">
                <a:solidFill>
                  <a:schemeClr val="tx1"/>
                </a:solidFill>
              </a:rPr>
              <a:t>communauté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616422" y="1201614"/>
            <a:ext cx="2448272" cy="2304256"/>
          </a:xfrm>
          <a:prstGeom prst="roundRect">
            <a:avLst/>
          </a:prstGeom>
          <a:solidFill>
            <a:srgbClr val="A8007C"/>
          </a:solidFill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000" b="1" dirty="0"/>
              <a:t>E</a:t>
            </a:r>
            <a:r>
              <a:rPr lang="nl-BE" sz="2000" b="1" dirty="0" smtClean="0"/>
              <a:t>chte</a:t>
            </a:r>
            <a:r>
              <a:rPr lang="nl-BE" sz="2000" b="1" dirty="0"/>
              <a:t>, voelbare voordelen door huisdieren voor individuen en gemeenschappen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944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522"/>
            <a:ext cx="9729788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https://www.petprofi.de/PAF/design/mars_online/pics/landing/aBetterWorldForPet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4894" y="1417638"/>
            <a:ext cx="4298561" cy="4997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44414" y="1489646"/>
            <a:ext cx="434180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b="1" u="sng" dirty="0" smtClean="0">
                <a:solidFill>
                  <a:srgbClr val="FFC000"/>
                </a:solidFill>
              </a:rPr>
              <a:t>Onze overtuiging  </a:t>
            </a:r>
            <a:r>
              <a:rPr lang="nl-BE" sz="2000" b="1" dirty="0" smtClean="0">
                <a:solidFill>
                  <a:srgbClr val="FFC000"/>
                </a:solidFill>
              </a:rPr>
              <a:t>: </a:t>
            </a:r>
          </a:p>
          <a:p>
            <a:r>
              <a:rPr lang="nl-BE" sz="2000" b="1" dirty="0" smtClean="0">
                <a:solidFill>
                  <a:srgbClr val="FFC000"/>
                </a:solidFill>
              </a:rPr>
              <a:t>Huisdieren maken ons leven beter</a:t>
            </a:r>
          </a:p>
          <a:p>
            <a:r>
              <a:rPr lang="nl-BE" sz="2000" b="1" u="sng" dirty="0" smtClean="0">
                <a:solidFill>
                  <a:srgbClr val="FFC000"/>
                </a:solidFill>
              </a:rPr>
              <a:t>Onze doelstelling </a:t>
            </a:r>
            <a:r>
              <a:rPr lang="nl-BE" sz="2000" b="1" dirty="0" smtClean="0">
                <a:solidFill>
                  <a:srgbClr val="FFC000"/>
                </a:solidFill>
              </a:rPr>
              <a:t>: </a:t>
            </a:r>
          </a:p>
          <a:p>
            <a:r>
              <a:rPr lang="nl-BE" sz="2000" b="1" dirty="0" smtClean="0">
                <a:solidFill>
                  <a:srgbClr val="FFC000"/>
                </a:solidFill>
              </a:rPr>
              <a:t>Wij maken een betere wereld voor huisdieren.</a:t>
            </a:r>
            <a:endParaRPr lang="en-US" sz="2000" b="1" dirty="0">
              <a:solidFill>
                <a:srgbClr val="FFC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44414" y="3694599"/>
            <a:ext cx="417646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b="1" u="sng" dirty="0" err="1" smtClean="0">
                <a:solidFill>
                  <a:srgbClr val="A8007C"/>
                </a:solidFill>
              </a:rPr>
              <a:t>Notre</a:t>
            </a:r>
            <a:r>
              <a:rPr lang="nl-BE" sz="2000" b="1" u="sng" dirty="0" smtClean="0">
                <a:solidFill>
                  <a:srgbClr val="A8007C"/>
                </a:solidFill>
              </a:rPr>
              <a:t> </a:t>
            </a:r>
            <a:r>
              <a:rPr lang="nl-BE" sz="2000" b="1" u="sng" dirty="0" err="1" smtClean="0">
                <a:solidFill>
                  <a:srgbClr val="A8007C"/>
                </a:solidFill>
              </a:rPr>
              <a:t>conviction</a:t>
            </a:r>
            <a:r>
              <a:rPr lang="nl-BE" sz="2000" b="1" u="sng" dirty="0" smtClean="0">
                <a:solidFill>
                  <a:srgbClr val="A8007C"/>
                </a:solidFill>
              </a:rPr>
              <a:t> </a:t>
            </a:r>
            <a:r>
              <a:rPr lang="nl-BE" sz="2000" b="1" dirty="0" smtClean="0">
                <a:solidFill>
                  <a:srgbClr val="A8007C"/>
                </a:solidFill>
              </a:rPr>
              <a:t>: </a:t>
            </a:r>
          </a:p>
          <a:p>
            <a:r>
              <a:rPr lang="nl-BE" sz="2000" b="1" dirty="0" smtClean="0">
                <a:solidFill>
                  <a:srgbClr val="A8007C"/>
                </a:solidFill>
              </a:rPr>
              <a:t>Les </a:t>
            </a:r>
            <a:r>
              <a:rPr lang="nl-BE" sz="2000" b="1" dirty="0" err="1" smtClean="0">
                <a:solidFill>
                  <a:srgbClr val="A8007C"/>
                </a:solidFill>
              </a:rPr>
              <a:t>animaux</a:t>
            </a:r>
            <a:r>
              <a:rPr lang="nl-BE" sz="2000" b="1" dirty="0" smtClean="0">
                <a:solidFill>
                  <a:srgbClr val="A8007C"/>
                </a:solidFill>
              </a:rPr>
              <a:t> de compagnie </a:t>
            </a:r>
            <a:r>
              <a:rPr lang="nl-BE" sz="2000" b="1" dirty="0" err="1" smtClean="0">
                <a:solidFill>
                  <a:srgbClr val="A8007C"/>
                </a:solidFill>
              </a:rPr>
              <a:t>améliorent</a:t>
            </a:r>
            <a:r>
              <a:rPr lang="nl-BE" sz="2000" b="1" dirty="0" smtClean="0">
                <a:solidFill>
                  <a:srgbClr val="A8007C"/>
                </a:solidFill>
              </a:rPr>
              <a:t> la </a:t>
            </a:r>
            <a:r>
              <a:rPr lang="nl-BE" sz="2000" b="1" dirty="0" err="1" smtClean="0">
                <a:solidFill>
                  <a:srgbClr val="A8007C"/>
                </a:solidFill>
              </a:rPr>
              <a:t>qualité</a:t>
            </a:r>
            <a:r>
              <a:rPr lang="nl-BE" sz="2000" b="1" dirty="0" smtClean="0">
                <a:solidFill>
                  <a:srgbClr val="A8007C"/>
                </a:solidFill>
              </a:rPr>
              <a:t> de </a:t>
            </a:r>
            <a:r>
              <a:rPr lang="nl-BE" sz="2000" b="1" dirty="0" err="1" smtClean="0">
                <a:solidFill>
                  <a:srgbClr val="A8007C"/>
                </a:solidFill>
              </a:rPr>
              <a:t>notre</a:t>
            </a:r>
            <a:r>
              <a:rPr lang="nl-BE" sz="2000" b="1" dirty="0" smtClean="0">
                <a:solidFill>
                  <a:srgbClr val="A8007C"/>
                </a:solidFill>
              </a:rPr>
              <a:t> </a:t>
            </a:r>
            <a:r>
              <a:rPr lang="nl-BE" sz="2000" b="1" dirty="0" err="1" smtClean="0">
                <a:solidFill>
                  <a:srgbClr val="A8007C"/>
                </a:solidFill>
              </a:rPr>
              <a:t>vie</a:t>
            </a:r>
            <a:endParaRPr lang="nl-BE" sz="2000" b="1" dirty="0">
              <a:solidFill>
                <a:srgbClr val="A8007C"/>
              </a:solidFill>
            </a:endParaRPr>
          </a:p>
          <a:p>
            <a:r>
              <a:rPr lang="nl-BE" sz="2000" b="1" u="sng" dirty="0" err="1" smtClean="0">
                <a:solidFill>
                  <a:srgbClr val="A8007C"/>
                </a:solidFill>
              </a:rPr>
              <a:t>Notre</a:t>
            </a:r>
            <a:r>
              <a:rPr lang="nl-BE" sz="2000" b="1" u="sng" dirty="0" smtClean="0">
                <a:solidFill>
                  <a:srgbClr val="A8007C"/>
                </a:solidFill>
              </a:rPr>
              <a:t> </a:t>
            </a:r>
            <a:r>
              <a:rPr lang="nl-BE" sz="2000" b="1" u="sng" dirty="0" err="1" smtClean="0">
                <a:solidFill>
                  <a:srgbClr val="A8007C"/>
                </a:solidFill>
              </a:rPr>
              <a:t>objectif</a:t>
            </a:r>
            <a:r>
              <a:rPr lang="nl-BE" sz="2000" b="1" u="sng" dirty="0" smtClean="0">
                <a:solidFill>
                  <a:srgbClr val="A8007C"/>
                </a:solidFill>
              </a:rPr>
              <a:t> </a:t>
            </a:r>
            <a:r>
              <a:rPr lang="nl-BE" sz="2000" b="1" dirty="0" smtClean="0">
                <a:solidFill>
                  <a:srgbClr val="A8007C"/>
                </a:solidFill>
              </a:rPr>
              <a:t>: </a:t>
            </a:r>
          </a:p>
          <a:p>
            <a:r>
              <a:rPr lang="nl-BE" sz="2000" b="1" dirty="0" err="1" smtClean="0">
                <a:solidFill>
                  <a:srgbClr val="A8007C"/>
                </a:solidFill>
              </a:rPr>
              <a:t>nous</a:t>
            </a:r>
            <a:r>
              <a:rPr lang="nl-BE" sz="2000" b="1" dirty="0" smtClean="0">
                <a:solidFill>
                  <a:srgbClr val="A8007C"/>
                </a:solidFill>
              </a:rPr>
              <a:t> </a:t>
            </a:r>
            <a:r>
              <a:rPr lang="nl-BE" sz="2000" b="1" dirty="0" err="1" smtClean="0">
                <a:solidFill>
                  <a:srgbClr val="A8007C"/>
                </a:solidFill>
              </a:rPr>
              <a:t>améliorons</a:t>
            </a:r>
            <a:r>
              <a:rPr lang="nl-BE" sz="2000" b="1" dirty="0" smtClean="0">
                <a:solidFill>
                  <a:srgbClr val="A8007C"/>
                </a:solidFill>
              </a:rPr>
              <a:t> la </a:t>
            </a:r>
            <a:r>
              <a:rPr lang="nl-BE" sz="2000" b="1" dirty="0" err="1" smtClean="0">
                <a:solidFill>
                  <a:srgbClr val="A8007C"/>
                </a:solidFill>
              </a:rPr>
              <a:t>vie</a:t>
            </a:r>
            <a:r>
              <a:rPr lang="nl-BE" sz="2000" b="1" dirty="0" smtClean="0">
                <a:solidFill>
                  <a:srgbClr val="A8007C"/>
                </a:solidFill>
              </a:rPr>
              <a:t> pour les </a:t>
            </a:r>
            <a:r>
              <a:rPr lang="nl-BE" sz="2000" b="1" dirty="0" err="1" smtClean="0">
                <a:solidFill>
                  <a:srgbClr val="A8007C"/>
                </a:solidFill>
              </a:rPr>
              <a:t>animaux</a:t>
            </a:r>
            <a:r>
              <a:rPr lang="nl-BE" sz="2000" b="1" dirty="0" smtClean="0">
                <a:solidFill>
                  <a:srgbClr val="A8007C"/>
                </a:solidFill>
              </a:rPr>
              <a:t> de compagnie . </a:t>
            </a:r>
            <a:endParaRPr lang="en-US" sz="2000" b="1" dirty="0">
              <a:solidFill>
                <a:srgbClr val="A800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303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522"/>
            <a:ext cx="9729788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https://www.petprofi.de/PAF/design/mars_online/pics/landing/aBetterWorldForPet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0678" y="1181897"/>
            <a:ext cx="3888432" cy="4520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ounded Rectangle 5"/>
          <p:cNvSpPr/>
          <p:nvPr/>
        </p:nvSpPr>
        <p:spPr>
          <a:xfrm>
            <a:off x="616422" y="3289846"/>
            <a:ext cx="2160240" cy="1090040"/>
          </a:xfrm>
          <a:prstGeom prst="roundRect">
            <a:avLst/>
          </a:prstGeom>
          <a:noFill/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rgbClr val="A8007C"/>
                </a:solidFill>
              </a:rPr>
              <a:t>HEALTHCARE &amp; NUTRIT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953126" y="3289846"/>
            <a:ext cx="2232248" cy="1090040"/>
          </a:xfrm>
          <a:prstGeom prst="roundRect">
            <a:avLst/>
          </a:prstGeom>
          <a:noFill/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rgbClr val="A8007C"/>
                </a:solidFill>
              </a:rPr>
              <a:t>LOVING, SAFE, HAPPY </a:t>
            </a:r>
          </a:p>
          <a:p>
            <a:pPr algn="ctr"/>
            <a:r>
              <a:rPr lang="nl-BE" sz="2400" b="1" dirty="0" smtClean="0">
                <a:solidFill>
                  <a:srgbClr val="A8007C"/>
                </a:solidFill>
              </a:rPr>
              <a:t>HOMES</a:t>
            </a:r>
            <a:endParaRPr lang="en-US" sz="2400" b="1" dirty="0">
              <a:solidFill>
                <a:srgbClr val="A8007C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3424734" y="5810126"/>
            <a:ext cx="2232248" cy="1090040"/>
          </a:xfrm>
          <a:prstGeom prst="roundRect">
            <a:avLst/>
          </a:prstGeom>
          <a:noFill/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rgbClr val="A8007C"/>
                </a:solidFill>
              </a:rPr>
              <a:t>TRAINING &amp; SOCIALISATION</a:t>
            </a:r>
          </a:p>
        </p:txBody>
      </p:sp>
    </p:spTree>
    <p:extLst>
      <p:ext uri="{BB962C8B-B14F-4D97-AF65-F5344CB8AC3E}">
        <p14:creationId xmlns:p14="http://schemas.microsoft.com/office/powerpoint/2010/main" val="123898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522"/>
            <a:ext cx="9729788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https://www.petprofi.de/PAF/design/mars_online/pics/landing/aBetterWorldForPet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8912" y="1057598"/>
            <a:ext cx="1462465" cy="1700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9462" y="5558913"/>
            <a:ext cx="2829696" cy="1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7764" name="Picture 4" descr="  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5245" y="2187204"/>
            <a:ext cx="339813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77677" y="3699372"/>
            <a:ext cx="418608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b="1" dirty="0" err="1" smtClean="0">
                <a:solidFill>
                  <a:srgbClr val="FFC000"/>
                </a:solidFill>
              </a:rPr>
              <a:t>L’expertise</a:t>
            </a:r>
            <a:r>
              <a:rPr lang="nl-BE" sz="2000" b="1" dirty="0" smtClean="0">
                <a:solidFill>
                  <a:srgbClr val="FFC000"/>
                </a:solidFill>
              </a:rPr>
              <a:t> </a:t>
            </a:r>
            <a:r>
              <a:rPr lang="nl-BE" sz="2000" b="1" dirty="0" err="1" smtClean="0">
                <a:solidFill>
                  <a:srgbClr val="FFC000"/>
                </a:solidFill>
              </a:rPr>
              <a:t>nutritionnelle</a:t>
            </a:r>
            <a:r>
              <a:rPr lang="nl-BE" sz="2000" b="1" dirty="0" smtClean="0">
                <a:solidFill>
                  <a:srgbClr val="FFC000"/>
                </a:solidFill>
              </a:rPr>
              <a:t> au service de Pedigree et </a:t>
            </a:r>
            <a:r>
              <a:rPr lang="nl-BE" sz="2000" b="1" dirty="0" err="1" smtClean="0">
                <a:solidFill>
                  <a:srgbClr val="FFC000"/>
                </a:solidFill>
              </a:rPr>
              <a:t>Whiskas</a:t>
            </a:r>
            <a:endParaRPr lang="nl-BE" sz="2000" b="1" dirty="0" smtClean="0">
              <a:solidFill>
                <a:srgbClr val="FFC000"/>
              </a:solidFill>
            </a:endParaRPr>
          </a:p>
          <a:p>
            <a:r>
              <a:rPr lang="nl-BE" sz="2000" b="1" dirty="0" err="1" smtClean="0">
                <a:solidFill>
                  <a:srgbClr val="FFC000"/>
                </a:solidFill>
              </a:rPr>
              <a:t>Autorité</a:t>
            </a:r>
            <a:r>
              <a:rPr lang="nl-BE" sz="2000" b="1" dirty="0" smtClean="0">
                <a:solidFill>
                  <a:srgbClr val="FFC000"/>
                </a:solidFill>
              </a:rPr>
              <a:t> mondiale leader pour </a:t>
            </a:r>
            <a:r>
              <a:rPr lang="nl-BE" sz="2000" b="1" dirty="0" err="1" smtClean="0">
                <a:solidFill>
                  <a:srgbClr val="FFC000"/>
                </a:solidFill>
              </a:rPr>
              <a:t>le</a:t>
            </a:r>
            <a:r>
              <a:rPr lang="nl-BE" sz="2000" b="1" dirty="0" smtClean="0">
                <a:solidFill>
                  <a:srgbClr val="FFC000"/>
                </a:solidFill>
              </a:rPr>
              <a:t> </a:t>
            </a:r>
            <a:r>
              <a:rPr lang="nl-BE" sz="2000" b="1" dirty="0" err="1" smtClean="0">
                <a:solidFill>
                  <a:srgbClr val="FFC000"/>
                </a:solidFill>
              </a:rPr>
              <a:t>bien-être</a:t>
            </a:r>
            <a:r>
              <a:rPr lang="nl-BE" sz="2000" b="1" dirty="0" smtClean="0">
                <a:solidFill>
                  <a:srgbClr val="FFC000"/>
                </a:solidFill>
              </a:rPr>
              <a:t> et la </a:t>
            </a:r>
            <a:r>
              <a:rPr lang="nl-BE" sz="2000" b="1" dirty="0" err="1" smtClean="0">
                <a:solidFill>
                  <a:srgbClr val="FFC000"/>
                </a:solidFill>
              </a:rPr>
              <a:t>nutrition</a:t>
            </a:r>
            <a:r>
              <a:rPr lang="nl-BE" sz="2000" b="1" dirty="0" smtClean="0">
                <a:solidFill>
                  <a:srgbClr val="FFC000"/>
                </a:solidFill>
              </a:rPr>
              <a:t> des </a:t>
            </a:r>
            <a:r>
              <a:rPr lang="nl-BE" sz="2000" b="1" dirty="0" err="1" smtClean="0">
                <a:solidFill>
                  <a:srgbClr val="FFC000"/>
                </a:solidFill>
              </a:rPr>
              <a:t>animaux</a:t>
            </a:r>
            <a:r>
              <a:rPr lang="nl-BE" sz="2000" b="1" dirty="0" smtClean="0">
                <a:solidFill>
                  <a:srgbClr val="FFC000"/>
                </a:solidFill>
              </a:rPr>
              <a:t> de compagnie</a:t>
            </a:r>
            <a:endParaRPr lang="en-US" sz="2000" b="1" dirty="0">
              <a:solidFill>
                <a:srgbClr val="FFC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008909" y="3699372"/>
            <a:ext cx="419648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b="1" dirty="0" smtClean="0">
                <a:solidFill>
                  <a:srgbClr val="A8007C"/>
                </a:solidFill>
              </a:rPr>
              <a:t>Nutritionele expertise voor </a:t>
            </a:r>
            <a:r>
              <a:rPr lang="nl-BE" sz="2000" b="1" dirty="0" err="1" smtClean="0">
                <a:solidFill>
                  <a:srgbClr val="A8007C"/>
                </a:solidFill>
              </a:rPr>
              <a:t>Whiskas</a:t>
            </a:r>
            <a:r>
              <a:rPr lang="nl-BE" sz="2000" b="1" dirty="0" smtClean="0">
                <a:solidFill>
                  <a:srgbClr val="A8007C"/>
                </a:solidFill>
              </a:rPr>
              <a:t> en Pedigree.</a:t>
            </a:r>
          </a:p>
          <a:p>
            <a:r>
              <a:rPr lang="nl-BE" sz="2000" b="1" dirty="0" smtClean="0">
                <a:solidFill>
                  <a:srgbClr val="A8007C"/>
                </a:solidFill>
              </a:rPr>
              <a:t>Leidinggevende wereldautoriteit voor welzijn en voeding van huisdieren</a:t>
            </a:r>
            <a:r>
              <a:rPr lang="nl-BE" sz="2000" b="1" dirty="0" smtClean="0">
                <a:solidFill>
                  <a:schemeClr val="accent1">
                    <a:lumMod val="75000"/>
                  </a:schemeClr>
                </a:solidFill>
              </a:rPr>
              <a:t>. </a:t>
            </a:r>
            <a:endParaRPr lang="en-US" sz="2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832446" y="1362710"/>
            <a:ext cx="2270993" cy="1090040"/>
          </a:xfrm>
          <a:prstGeom prst="roundRect">
            <a:avLst/>
          </a:prstGeom>
          <a:noFill/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l-BE" sz="2400" b="1" dirty="0" smtClean="0">
                <a:solidFill>
                  <a:srgbClr val="A8007C"/>
                </a:solidFill>
              </a:rPr>
              <a:t>HEALTH &amp; NUTRITION</a:t>
            </a:r>
          </a:p>
        </p:txBody>
      </p:sp>
    </p:spTree>
    <p:extLst>
      <p:ext uri="{BB962C8B-B14F-4D97-AF65-F5344CB8AC3E}">
        <p14:creationId xmlns:p14="http://schemas.microsoft.com/office/powerpoint/2010/main" val="2337012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40558" y="625550"/>
            <a:ext cx="6336704" cy="193899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nl-BE" sz="6000" b="1" dirty="0" smtClean="0">
                <a:solidFill>
                  <a:srgbClr val="FFC000"/>
                </a:solidFill>
                <a:latin typeface="Marsfont" panose="02000000000000000000" pitchFamily="2" charset="0"/>
              </a:rPr>
              <a:t>DOEL - </a:t>
            </a:r>
            <a:r>
              <a:rPr lang="nl-BE" sz="6000" b="1" dirty="0" smtClean="0">
                <a:solidFill>
                  <a:srgbClr val="A8007C"/>
                </a:solidFill>
                <a:latin typeface="Marsfont" panose="02000000000000000000" pitchFamily="2" charset="0"/>
              </a:rPr>
              <a:t>OBJECTIF</a:t>
            </a:r>
            <a:r>
              <a:rPr lang="nl-BE" sz="6000" b="1" dirty="0" smtClean="0">
                <a:solidFill>
                  <a:prstClr val="black"/>
                </a:solidFill>
                <a:latin typeface="Marsfont" panose="02000000000000000000" pitchFamily="2" charset="0"/>
              </a:rPr>
              <a:t> </a:t>
            </a:r>
          </a:p>
          <a:p>
            <a:pPr algn="ctr"/>
            <a:endParaRPr lang="nl-BE" sz="6000" b="1" dirty="0" smtClean="0">
              <a:solidFill>
                <a:prstClr val="black"/>
              </a:solidFill>
              <a:latin typeface="Marsfont" panose="02000000000000000000" pitchFamily="2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"/>
          <a:stretch/>
        </p:blipFill>
        <p:spPr bwMode="auto">
          <a:xfrm>
            <a:off x="1611188" y="1921694"/>
            <a:ext cx="6264696" cy="24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ounded Rectangle 2"/>
          <p:cNvSpPr/>
          <p:nvPr/>
        </p:nvSpPr>
        <p:spPr>
          <a:xfrm>
            <a:off x="1612042" y="4535686"/>
            <a:ext cx="2012398" cy="1809438"/>
          </a:xfrm>
          <a:prstGeom prst="roundRect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nl-BE" sz="1600" b="1" dirty="0" smtClean="0">
                <a:solidFill>
                  <a:schemeClr val="tx1"/>
                </a:solidFill>
              </a:rPr>
              <a:t>Sensibilisering</a:t>
            </a:r>
          </a:p>
          <a:p>
            <a:pPr algn="ctr"/>
            <a:r>
              <a:rPr lang="nl-BE" sz="1600" b="1" dirty="0">
                <a:solidFill>
                  <a:schemeClr val="tx1"/>
                </a:solidFill>
              </a:rPr>
              <a:t>r</a:t>
            </a:r>
            <a:r>
              <a:rPr lang="nl-BE" sz="1600" b="1" dirty="0" smtClean="0">
                <a:solidFill>
                  <a:schemeClr val="tx1"/>
                </a:solidFill>
              </a:rPr>
              <a:t>ond vakantie </a:t>
            </a:r>
          </a:p>
          <a:p>
            <a:pPr algn="ctr"/>
            <a:endParaRPr lang="nl-BE" sz="1600" b="1" dirty="0">
              <a:solidFill>
                <a:schemeClr val="tx1"/>
              </a:solidFill>
            </a:endParaRPr>
          </a:p>
          <a:p>
            <a:pPr algn="ctr"/>
            <a:r>
              <a:rPr lang="nl-BE" sz="1600" b="1" dirty="0" smtClean="0">
                <a:solidFill>
                  <a:schemeClr val="tx1"/>
                </a:solidFill>
              </a:rPr>
              <a:t> </a:t>
            </a:r>
            <a:r>
              <a:rPr lang="nl-BE" sz="1600" b="1" dirty="0" err="1" smtClean="0">
                <a:solidFill>
                  <a:schemeClr val="tx1"/>
                </a:solidFill>
              </a:rPr>
              <a:t>Sensibilisation</a:t>
            </a:r>
            <a:endParaRPr lang="nl-BE" sz="1600" b="1" dirty="0" smtClean="0">
              <a:solidFill>
                <a:schemeClr val="tx1"/>
              </a:solidFill>
            </a:endParaRPr>
          </a:p>
          <a:p>
            <a:pPr algn="ctr"/>
            <a:r>
              <a:rPr lang="nl-BE" sz="1600" b="1" dirty="0" err="1">
                <a:solidFill>
                  <a:schemeClr val="tx1"/>
                </a:solidFill>
              </a:rPr>
              <a:t>a</a:t>
            </a:r>
            <a:r>
              <a:rPr lang="nl-BE" sz="1600" b="1" dirty="0" err="1" smtClean="0">
                <a:solidFill>
                  <a:schemeClr val="tx1"/>
                </a:solidFill>
              </a:rPr>
              <a:t>utour</a:t>
            </a:r>
            <a:r>
              <a:rPr lang="nl-BE" sz="1600" b="1" dirty="0" smtClean="0">
                <a:solidFill>
                  <a:schemeClr val="tx1"/>
                </a:solidFill>
              </a:rPr>
              <a:t> </a:t>
            </a:r>
            <a:r>
              <a:rPr lang="nl-BE" sz="1600" b="1" dirty="0" err="1" smtClean="0">
                <a:solidFill>
                  <a:schemeClr val="tx1"/>
                </a:solidFill>
              </a:rPr>
              <a:t>acances</a:t>
            </a:r>
            <a:endParaRPr lang="en-US" sz="1600" b="1" dirty="0" smtClean="0">
              <a:solidFill>
                <a:schemeClr val="tx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3738191" y="4535686"/>
            <a:ext cx="2012398" cy="1778496"/>
          </a:xfrm>
          <a:prstGeom prst="roundRect">
            <a:avLst/>
          </a:prstGeom>
          <a:noFill/>
          <a:ln w="5715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nl-BE" sz="1600" b="1" dirty="0" smtClean="0">
                <a:solidFill>
                  <a:schemeClr val="tx1"/>
                </a:solidFill>
              </a:rPr>
              <a:t>Promoten adoptie asieldieren – </a:t>
            </a:r>
          </a:p>
          <a:p>
            <a:pPr algn="ctr"/>
            <a:endParaRPr lang="nl-BE" sz="1600" b="1" dirty="0" smtClean="0">
              <a:solidFill>
                <a:schemeClr val="tx1"/>
              </a:solidFill>
            </a:endParaRPr>
          </a:p>
          <a:p>
            <a:pPr algn="ctr"/>
            <a:r>
              <a:rPr lang="nl-BE" sz="1600" b="1" dirty="0" err="1" smtClean="0">
                <a:solidFill>
                  <a:schemeClr val="tx1"/>
                </a:solidFill>
              </a:rPr>
              <a:t>Promouvoir</a:t>
            </a:r>
            <a:r>
              <a:rPr lang="nl-BE" sz="1600" b="1" dirty="0" smtClean="0">
                <a:solidFill>
                  <a:schemeClr val="tx1"/>
                </a:solidFill>
              </a:rPr>
              <a:t> </a:t>
            </a:r>
            <a:r>
              <a:rPr lang="nl-BE" sz="1600" b="1" dirty="0" err="1" smtClean="0">
                <a:solidFill>
                  <a:schemeClr val="tx1"/>
                </a:solidFill>
              </a:rPr>
              <a:t>l’adoption</a:t>
            </a:r>
            <a:r>
              <a:rPr lang="nl-BE" sz="1600" b="1" dirty="0" smtClean="0">
                <a:solidFill>
                  <a:schemeClr val="tx1"/>
                </a:solidFill>
              </a:rPr>
              <a:t> des </a:t>
            </a:r>
            <a:r>
              <a:rPr lang="nl-BE" sz="1600" b="1" dirty="0" err="1" smtClean="0">
                <a:solidFill>
                  <a:schemeClr val="tx1"/>
                </a:solidFill>
              </a:rPr>
              <a:t>animaux</a:t>
            </a:r>
            <a:r>
              <a:rPr lang="nl-BE" sz="1600" b="1" dirty="0" smtClean="0">
                <a:solidFill>
                  <a:schemeClr val="tx1"/>
                </a:solidFill>
              </a:rPr>
              <a:t> de refuge</a:t>
            </a:r>
            <a:endParaRPr lang="en-US" sz="1600" b="1" dirty="0" smtClean="0">
              <a:solidFill>
                <a:schemeClr val="tx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5895342" y="4535686"/>
            <a:ext cx="2012398" cy="1778496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nl-BE" sz="1600" b="1" dirty="0" smtClean="0">
                <a:solidFill>
                  <a:schemeClr val="tx1"/>
                </a:solidFill>
              </a:rPr>
              <a:t>Maaltijden inzamelen</a:t>
            </a:r>
          </a:p>
          <a:p>
            <a:pPr algn="ctr"/>
            <a:endParaRPr lang="nl-BE" sz="1600" b="1" dirty="0" smtClean="0">
              <a:solidFill>
                <a:schemeClr val="tx1"/>
              </a:solidFill>
            </a:endParaRPr>
          </a:p>
          <a:p>
            <a:pPr algn="ctr"/>
            <a:r>
              <a:rPr lang="nl-BE" sz="1600" b="1" dirty="0" err="1" smtClean="0">
                <a:solidFill>
                  <a:schemeClr val="tx1"/>
                </a:solidFill>
              </a:rPr>
              <a:t>Collectionner</a:t>
            </a:r>
            <a:r>
              <a:rPr lang="nl-BE" sz="1600" b="1" dirty="0" smtClean="0">
                <a:solidFill>
                  <a:schemeClr val="tx1"/>
                </a:solidFill>
              </a:rPr>
              <a:t> des </a:t>
            </a:r>
            <a:r>
              <a:rPr lang="nl-BE" sz="1600" b="1" dirty="0" err="1" smtClean="0">
                <a:solidFill>
                  <a:schemeClr val="tx1"/>
                </a:solidFill>
              </a:rPr>
              <a:t>repas</a:t>
            </a:r>
            <a:endParaRPr lang="en-US" sz="1600" b="1" dirty="0" smtClean="0">
              <a:solidFill>
                <a:schemeClr val="tx1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16"/>
          <a:stretch/>
        </p:blipFill>
        <p:spPr bwMode="auto">
          <a:xfrm>
            <a:off x="0" y="6611275"/>
            <a:ext cx="9729788" cy="8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48799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50" y="-22522"/>
            <a:ext cx="9729788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5183700" y="1342111"/>
            <a:ext cx="1824984" cy="2387239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4" cstate="print"/>
          <a:srcRect b="8"/>
          <a:stretch>
            <a:fillRect/>
          </a:stretch>
        </p:blipFill>
        <p:spPr bwMode="auto">
          <a:xfrm>
            <a:off x="2659999" y="1428096"/>
            <a:ext cx="1224136" cy="1781042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56782" y="1057598"/>
            <a:ext cx="1326918" cy="1819217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0" name="Picture 10"/>
          <p:cNvPicPr>
            <a:picLocks noChangeAspect="1" noChangeArrowheads="1"/>
          </p:cNvPicPr>
          <p:nvPr/>
        </p:nvPicPr>
        <p:blipFill>
          <a:blip r:embed="rId6" cstate="print"/>
          <a:srcRect b="16"/>
          <a:stretch>
            <a:fillRect/>
          </a:stretch>
        </p:blipFill>
        <p:spPr bwMode="auto">
          <a:xfrm>
            <a:off x="3568750" y="2946485"/>
            <a:ext cx="1824044" cy="1489513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3" name="Picture 2" descr="https://www.petprofi.de/PAF/design/mars_online/pics/landing/aBetterWorldForPets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1198" y="1105227"/>
            <a:ext cx="1482845" cy="1723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512966" y="5301768"/>
            <a:ext cx="19442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b="1" dirty="0" smtClean="0">
                <a:solidFill>
                  <a:schemeClr val="accent1">
                    <a:lumMod val="75000"/>
                  </a:schemeClr>
                </a:solidFill>
              </a:rPr>
              <a:t>Worldwide </a:t>
            </a:r>
          </a:p>
          <a:p>
            <a:pPr algn="ctr"/>
            <a:r>
              <a:rPr lang="nl-BE" b="1" dirty="0" smtClean="0">
                <a:solidFill>
                  <a:schemeClr val="accent1">
                    <a:lumMod val="75000"/>
                  </a:schemeClr>
                </a:solidFill>
              </a:rPr>
              <a:t>‘pet </a:t>
            </a:r>
            <a:r>
              <a:rPr lang="nl-BE" b="1" dirty="0" err="1" smtClean="0">
                <a:solidFill>
                  <a:schemeClr val="accent1">
                    <a:lumMod val="75000"/>
                  </a:schemeClr>
                </a:solidFill>
              </a:rPr>
              <a:t>welcome</a:t>
            </a:r>
            <a:r>
              <a:rPr lang="nl-BE" b="1" dirty="0" smtClean="0">
                <a:solidFill>
                  <a:schemeClr val="accent1">
                    <a:lumMod val="75000"/>
                  </a:schemeClr>
                </a:solidFill>
              </a:rPr>
              <a:t>’ offices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973929" y="1105227"/>
            <a:ext cx="1413113" cy="1090040"/>
          </a:xfrm>
          <a:prstGeom prst="roundRect">
            <a:avLst/>
          </a:prstGeom>
          <a:noFill/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rgbClr val="A8007C"/>
                </a:solidFill>
              </a:rPr>
              <a:t>HAPPY </a:t>
            </a:r>
          </a:p>
          <a:p>
            <a:pPr algn="ctr"/>
            <a:r>
              <a:rPr lang="nl-BE" sz="2400" b="1" dirty="0" smtClean="0">
                <a:solidFill>
                  <a:srgbClr val="A8007C"/>
                </a:solidFill>
              </a:rPr>
              <a:t>HOMES</a:t>
            </a:r>
            <a:endParaRPr lang="en-US" sz="2400" b="1" dirty="0">
              <a:solidFill>
                <a:srgbClr val="A8007C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973928" y="4707558"/>
            <a:ext cx="1413113" cy="1090040"/>
          </a:xfrm>
          <a:prstGeom prst="roundRect">
            <a:avLst/>
          </a:prstGeom>
          <a:noFill/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rgbClr val="A8007C"/>
                </a:solidFill>
              </a:rPr>
              <a:t>HAPPY </a:t>
            </a:r>
            <a:r>
              <a:rPr lang="en-US" sz="2400" b="1" dirty="0" smtClean="0">
                <a:solidFill>
                  <a:srgbClr val="A8007C"/>
                </a:solidFill>
              </a:rPr>
              <a:t>OFFICES</a:t>
            </a:r>
            <a:endParaRPr lang="nl-BE" sz="2400" b="1" dirty="0" smtClean="0">
              <a:solidFill>
                <a:srgbClr val="A8007C"/>
              </a:solidFill>
            </a:endParaRPr>
          </a:p>
        </p:txBody>
      </p:sp>
      <p:pic>
        <p:nvPicPr>
          <p:cNvPr id="113666" name="Picture 2" descr="http://www.personal.psu.edu/afr3/blogs/siowfa13/dog_office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9102" y="4987481"/>
            <a:ext cx="2404598" cy="155190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853519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29788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6740" name="Picture 4" descr="https://encrypted-tbn0.gstatic.com/images?q=tbn:ANd9GcQbKZI1ic1ezmvTP-7WesrBQMptXuCLOudbRkAba8zxC6VrBzs8RSzP01c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2869" y="4054731"/>
            <a:ext cx="1701822" cy="2398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744" name="Picture 8" descr="https://encrypted-tbn2.gstatic.com/images?q=tbn:ANd9GcSfIDvDevlJYZUmdPu20gTLyo8iygsdWiShI_TnFRhmhcOsCTGyKPV6bqRb0A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7761" y="4054731"/>
            <a:ext cx="1701822" cy="1547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750" name="Picture 14" descr="https://encrypted-tbn1.gstatic.com/images?q=tbn:ANd9GcQJC96OFTPXHyfFxl_2qrw0IKUJzg1gS8RZ9lUTmlTRaMCg7g-MQkZLyTc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715" y="2924102"/>
            <a:ext cx="721028" cy="862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459434" y="3090284"/>
            <a:ext cx="112607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dirty="0" smtClean="0"/>
              <a:t>Voorbeelden</a:t>
            </a:r>
          </a:p>
          <a:p>
            <a:r>
              <a:rPr lang="nl-BE" sz="1400" dirty="0" err="1" smtClean="0"/>
              <a:t>Examples</a:t>
            </a:r>
            <a:endParaRPr lang="nl-BE" sz="1400" dirty="0" smtClean="0"/>
          </a:p>
          <a:p>
            <a:endParaRPr lang="en-US" sz="1400" dirty="0"/>
          </a:p>
        </p:txBody>
      </p:sp>
      <p:pic>
        <p:nvPicPr>
          <p:cNvPr id="14" name="Picture 4" descr="http://www.het-blauwe-kruis.be/template_images/banner_top_2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836450" y="4102867"/>
            <a:ext cx="1256499" cy="105472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https://encrypted-tbn1.gstatic.com/images?q=tbn:ANd9GcQDtqLNEku8TenbtliwCcbgC7gEy78KwyaxU04sVDi0luCpXXyo9kAz7uIH6g">
            <a:hlinkClick r:id="rId10"/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6548" y="5059866"/>
            <a:ext cx="1018914" cy="1083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2" descr="https://encrypted-tbn0.gstatic.com/images?q=tbn:ANd9GcRJYOU0-axv0BVVukOYOrb8-3ZS5NF--PgfQs1Fro8st3U7VaTtHkQ-NY8">
            <a:hlinkClick r:id="rId12"/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1612" y="4102867"/>
            <a:ext cx="1051857" cy="1450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https://encrypted-tbn1.gstatic.com/images?q=tbn:ANd9GcTT1ixGWpRzUhPeK8rTGYijXoIxdEfsQycYGyLY1aDz5OhsPG4y1dv8KA">
            <a:hlinkClick r:id="rId14"/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2334" y="2924102"/>
            <a:ext cx="1009277" cy="67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https://www.petprofi.de/PAF/design/mars_online/pics/landing/aBetterWorldForPets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1198" y="1105227"/>
            <a:ext cx="1482845" cy="1723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ounded Rectangle 19"/>
          <p:cNvSpPr/>
          <p:nvPr/>
        </p:nvSpPr>
        <p:spPr>
          <a:xfrm>
            <a:off x="973929" y="1422186"/>
            <a:ext cx="1586709" cy="1090040"/>
          </a:xfrm>
          <a:prstGeom prst="roundRect">
            <a:avLst/>
          </a:prstGeom>
          <a:noFill/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rgbClr val="A8007C"/>
                </a:solidFill>
              </a:rPr>
              <a:t>HAPPY </a:t>
            </a:r>
          </a:p>
          <a:p>
            <a:pPr algn="ctr"/>
            <a:r>
              <a:rPr lang="nl-BE" sz="2400" b="1" dirty="0" smtClean="0">
                <a:solidFill>
                  <a:srgbClr val="A8007C"/>
                </a:solidFill>
              </a:rPr>
              <a:t>ANIMALS</a:t>
            </a:r>
            <a:endParaRPr lang="en-US" sz="2400" b="1" dirty="0">
              <a:solidFill>
                <a:srgbClr val="A800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0498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vanhunie\Desktop\MARPRD0476 Template ppt A4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02" y="0"/>
            <a:ext cx="9790144" cy="7466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2.bp.blogspot.com/-q2yvRdnrPzg/T5tbAdUqWSI/AAAAAAAAIMk/_jQlV9gHhRU/s1600/AnimalShelter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69124">
            <a:off x="4089371" y="1398948"/>
            <a:ext cx="4848854" cy="3225050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sp>
        <p:nvSpPr>
          <p:cNvPr id="2" name="TextBox 1"/>
          <p:cNvSpPr txBox="1"/>
          <p:nvPr/>
        </p:nvSpPr>
        <p:spPr>
          <a:xfrm>
            <a:off x="6430121" y="4763105"/>
            <a:ext cx="2511265" cy="830997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nl-BE" sz="2400" b="1" dirty="0" smtClean="0">
                <a:solidFill>
                  <a:schemeClr val="bg2"/>
                </a:solidFill>
              </a:rPr>
              <a:t>Elke zomer …</a:t>
            </a:r>
          </a:p>
          <a:p>
            <a:r>
              <a:rPr lang="nl-BE" sz="2400" b="1" dirty="0" err="1" smtClean="0">
                <a:solidFill>
                  <a:schemeClr val="bg2"/>
                </a:solidFill>
              </a:rPr>
              <a:t>Chaque</a:t>
            </a:r>
            <a:r>
              <a:rPr lang="nl-BE" sz="2400" b="1" dirty="0" smtClean="0">
                <a:solidFill>
                  <a:schemeClr val="bg2"/>
                </a:solidFill>
              </a:rPr>
              <a:t> </a:t>
            </a:r>
            <a:r>
              <a:rPr lang="nl-BE" sz="2400" b="1" dirty="0" err="1" smtClean="0">
                <a:solidFill>
                  <a:schemeClr val="bg2"/>
                </a:solidFill>
              </a:rPr>
              <a:t>été</a:t>
            </a:r>
            <a:r>
              <a:rPr lang="nl-BE" sz="2400" b="1" dirty="0" smtClean="0">
                <a:solidFill>
                  <a:schemeClr val="bg2"/>
                </a:solidFill>
              </a:rPr>
              <a:t> …</a:t>
            </a:r>
            <a:endParaRPr lang="en-US" sz="2400" b="1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257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552526" y="1724017"/>
            <a:ext cx="2088232" cy="1107996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fr-BE" sz="6600" b="1" dirty="0">
                <a:solidFill>
                  <a:prstClr val="black"/>
                </a:solidFill>
              </a:rPr>
              <a:t>10</a:t>
            </a:r>
            <a:r>
              <a:rPr lang="fr-BE" sz="6600" b="1" dirty="0" smtClean="0">
                <a:solidFill>
                  <a:prstClr val="black"/>
                </a:solidFill>
              </a:rPr>
              <a:t>€</a:t>
            </a:r>
            <a:endParaRPr lang="en-US" sz="4000" b="1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662104" y="3706904"/>
            <a:ext cx="5875198" cy="707886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fr-BE" sz="4000" b="1" dirty="0">
                <a:solidFill>
                  <a:prstClr val="black"/>
                </a:solidFill>
              </a:rPr>
              <a:t>= </a:t>
            </a:r>
            <a:r>
              <a:rPr lang="fr-BE" sz="4000" b="1" dirty="0" smtClean="0">
                <a:solidFill>
                  <a:prstClr val="black"/>
                </a:solidFill>
              </a:rPr>
              <a:t>1 </a:t>
            </a:r>
            <a:r>
              <a:rPr lang="fr-BE" sz="4000" b="1" dirty="0" err="1" smtClean="0">
                <a:solidFill>
                  <a:prstClr val="black"/>
                </a:solidFill>
              </a:rPr>
              <a:t>maaltijd</a:t>
            </a:r>
            <a:r>
              <a:rPr lang="fr-BE" sz="4000" b="1" dirty="0" smtClean="0">
                <a:solidFill>
                  <a:prstClr val="black"/>
                </a:solidFill>
              </a:rPr>
              <a:t>/repas</a:t>
            </a:r>
            <a:endParaRPr lang="en-US" sz="4000" b="1" dirty="0">
              <a:solidFill>
                <a:prstClr val="black"/>
              </a:solidFill>
            </a:endParaRPr>
          </a:p>
        </p:txBody>
      </p:sp>
      <p:pic>
        <p:nvPicPr>
          <p:cNvPr id="4" name="Picture 4" descr="http://www.adch.org.uk/pages/images/Pedigree-logo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4008706" y="1489646"/>
            <a:ext cx="1504259" cy="149969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755298" y="1885551"/>
            <a:ext cx="811479" cy="707886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fr-BE" sz="4000" b="1" dirty="0">
                <a:solidFill>
                  <a:prstClr val="black"/>
                </a:solidFill>
              </a:rPr>
              <a:t>or </a:t>
            </a:r>
            <a:endParaRPr lang="en-US" sz="4000" b="1" dirty="0">
              <a:solidFill>
                <a:prstClr val="black"/>
              </a:solidFill>
            </a:endParaRPr>
          </a:p>
        </p:txBody>
      </p:sp>
      <p:pic>
        <p:nvPicPr>
          <p:cNvPr id="12290" name="Picture 2" descr="http://www.petsplace.nl/medias/sys_master/brandLogos/8799317655582/whiskas_zoom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"/>
          <a:stretch/>
        </p:blipFill>
        <p:spPr bwMode="auto">
          <a:xfrm>
            <a:off x="6739687" y="1489646"/>
            <a:ext cx="1466410" cy="149969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404672" y="5550007"/>
            <a:ext cx="1575792" cy="707886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fr-BE" sz="4000" b="1" dirty="0">
                <a:solidFill>
                  <a:prstClr val="black"/>
                </a:solidFill>
              </a:rPr>
              <a:t>for</a:t>
            </a:r>
            <a:endParaRPr lang="en-US" sz="4000" b="1" dirty="0">
              <a:solidFill>
                <a:prstClr val="black"/>
              </a:solidFill>
            </a:endParaRPr>
          </a:p>
        </p:txBody>
      </p:sp>
      <p:pic>
        <p:nvPicPr>
          <p:cNvPr id="12292" name="Picture 4" descr="http://www.het-blauwe-kruis.be/template_images/banner_top_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5060622" y="5166391"/>
            <a:ext cx="1656185" cy="13902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ounded Rectangle 5"/>
          <p:cNvSpPr/>
          <p:nvPr/>
        </p:nvSpPr>
        <p:spPr>
          <a:xfrm>
            <a:off x="1336502" y="1273622"/>
            <a:ext cx="7488832" cy="1872208"/>
          </a:xfrm>
          <a:prstGeom prst="roundRect">
            <a:avLst>
              <a:gd name="adj" fmla="val 7266"/>
            </a:avLst>
          </a:prstGeom>
          <a:noFill/>
          <a:ln w="28575">
            <a:solidFill>
              <a:schemeClr val="tx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prstClr val="black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2416623" y="3490880"/>
            <a:ext cx="6408712" cy="1080120"/>
          </a:xfrm>
          <a:prstGeom prst="roundRect">
            <a:avLst>
              <a:gd name="adj" fmla="val 7266"/>
            </a:avLst>
          </a:prstGeom>
          <a:noFill/>
          <a:ln w="28575">
            <a:solidFill>
              <a:schemeClr val="tx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3352726" y="4973068"/>
            <a:ext cx="3616110" cy="1800200"/>
          </a:xfrm>
          <a:prstGeom prst="roundRect">
            <a:avLst>
              <a:gd name="adj" fmla="val 7266"/>
            </a:avLst>
          </a:prstGeom>
          <a:noFill/>
          <a:ln w="28575">
            <a:solidFill>
              <a:schemeClr val="tx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89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650" y="-22522"/>
            <a:ext cx="9729788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AutoShape 4" descr="data:image/jpeg;base64,/9j/4AAQSkZJRgABAQAAAQABAAD/2wCEAAkGBxQSEhUUExQWFhUXFxoYGBgYFxccIBwXGhwXGBgcHRwYHSggGBwlHRgXITEhJSkrLi4uFx8zODMsNygtLiwBCgoKDg0OGxAQGywlICQsLCwvNCwsLCwsLCwtLCwsLC8sLCwsLCwsLCwsLCwsLDQsLCwsLCwsLCwsLCwsLCwsLP/AABEIAQMAwgMBIgACEQEDEQH/xAAcAAACAgMBAQAAAAAAAAAAAAAFBgQHAAEDAgj/xABPEAABAwIEAwQECQcKBQMFAAABAgMRAAQFEiExBkFREyJhcQcygZEUI0JSk6GxstEVJHJzksHwMzRDU1RiY4PS4heCosPxs9PhFiUmo8L/xAAbAQACAwEBAQAAAAAAAAAAAAACAwABBAUGB//EADcRAAICAQMCAwQIBQUBAAAAAAABAhEDBBIhMVEFE0EUImGhI1JxgZGSosEVMmKx8TOC0eHwBv/aAAwDAQACEQMRAD8Aui4vm25zuITAzHMoCEjcmdhodfCoY4ktDtcsfSI/GgfF7UouNDHwdcnWNQ5poqPeDVU2drJAEa9aVOe0KMd3Qvi3xm3cVlQ82pXRK0k+4V0fvgmq/wAKxO1tEZUuNgn1lFQkn8PCuF/xkwdnkHyNLefg249Bkk+Uxpv+Lg1uif8Amj91c8I9INm8rIpfYr6OEAHyVMVVeN8QJWDlUD5GlJayTJpUM875Oxj8Gxzh71pn02cftRvcM/SJ/GoWIcX2rQ0cDh6NkK95mBXz+MQ+Lg+sNB5V1t8VjejnnlXCMuDwWbk/M6L5lxOcf/NaEeKvwFe2PSG1MONqSOqSFfVoaqM4uOtRLjEydqSs2WzavB8T4o+hbfia0WkEXDXtWkH2gmRXX/6gtf7Sz9In8a+aWrtSVZgdaYGHw4kKH/g1pWZs5Wu8MlpuU7iXsOILX+0M/SJ/Gt/l61/tDP0ifxqjEqivLj0Vfms5uwvQ8QWv9oZ+kT+NeRxHaf2lj6VH41SIdSoVC7PWq85voVtL/GOWx/p2vpE/jW/y1b/17X7afxqj7dut3BIovMZNpeH5Zt/69r9tP41r8t2/9e1+2n8apWxUwpv419SHM0AZSRl7ve0HTPp5V3LFuIi5Kzp8hSQO8kGSQT6pUdByq97JRcf5bt/69r9tP415/L1t/aGvpE/jVVZLWf5VW567ax8jefx5wONs2yUKKlkLhEDWDPr6gHbpVPLzRTpFtHiC1/tLP0ifxqVZX7TwJacQsAwSlQMHeDFVJ8AsjnzPqmTkgH1Y7ubu6GZpr9FSIZe/WD7oo1K2T0HisrdZRlCBxFeNOO3TYclaGnJbynujIJObNrqenyjVU8QLyhKRzkn2VdOP8O27abu7CPjltKBUSTAyx3RykAUj4jwOhdqi8euuzb7NKj8UVRmIjZWupApGRNnS0OTDjzxk7r9ys6ynSw4OtblWS3xFsuHZK2lInyk6nyofc8FXLd21auAJLqoQ5qUEbkg84HLekbGepjr8DbV0+vKoW6mHCXs5b7JWdKc5TGoQBJV5QQaNcdcHKw4oBcDiXAqCBBBESCJPUa0eex63+GvHMzkNmpAelUlZaSnLObLvpGXlVqPNMVl1z2qeFbk0/kV3XoNmCqDlBgmDEnYTtNPuHJsUoYS67buZHWVEns0/FqQe0SQBJAVE5pM66aUJu8TQuyfQCyg/CkqS2kJTLQbyJKQdTqBJH76jhXqVDXym6UH1SFaspns7m0+DMFxKe0SstOJA1U0paVdp5pRnTO8kUX7axz/GFgq7V8slGXIlrJ8QHI09aICtRzqKHxLnr3F1sfqINE8Ed7xT1E+2mS6vbRDDhSGF3HYsAyElJelYdKMsAkJKZI0kUrYNov2VGqYrUZvaNLkco1XcPZK2pkEVpLorRdojyhFUjKa9pcHWuVwomuTTJNCopOwKrkKMXA60/ejq1bd7btG0LjJGZIVE5uoquRaHerB9FDmX4RMmOz2E/PpsHyU2w7xEizti3mtm5cJAystHaN80daDX3EFjb9mV2oVncS2IZY9ZSSoE67aGjHGmHOXCmA0gnIpZUToBoiNf42NKfEnCN06GsiJyXCHDr8lKFJMdTKhT6QIy4Zi9i/OW0SITm1aa2mOVEbZdktptzsWUhxJUEqQ2DA0+2B7RS5w3w8+zOdG7eUR1zA/ZXu5wl7srZPZLJQypKoEwrtWzHuBPsqUiB9m4w5S0oCbYqUopSIakqEyANz/8ihnowXKLodHyPqFIWC8MXicQsnFWzoQi6dWtRTolKssE+Bp/9GQ7t1+vP2Cqa5RfoOtZWq3RFAniofmdx+qX9hpS4lH/AOPf5LP326b+Jv5o/wDqlfZS3i4/+yDp2TP326CXr9gzFPZNS7NFEtOqQoKSSFJMgjkRsavfi4dvhjL5JDiSw6lQ0KVEpBKTuDCjVOscPuvXAZZSVFZ0PJI5knkBVucWXzaTZYalUqW6yFgHZpBB18VFIHlNJxqk7O/4nlhmeOWPl8v7gRxTwqq8xJhgvOqQGO0cUtQJCcxEJAAAJI3j7KgM2OHqxJWHfBk5ACgO9ovP2gTm6xG4p4VeJbxjs1QC7aJyTzKHHCR5wZ9lIPG2P3lnfOBCW0gqzNq7FElJHzokmZHWjkkuTHpp5clY0693jmue/wASbw1wCx8Nu7a4BcS2lpbSsxByr7TeOegH/LXBeFYbaoWzCbm+UvKloqXAWpUJSSnQBIOus6Gi3otxF+4u7ty5nteyYSZTl7sulOnLQzVfWF6ljFO0c9VN0sqJ5DtFAk+W9BaSXBphHPkyTjKb91J8Pq6GfivCrPCksIWwm4ccJU4palJASCM2RKTpvpM7azUrE+A7du+s8oJtrlSklBUZSoNrcTB3gx9VFvSxfvsBl1lKFNkFKippC4OhTqoGARPupb4W4kvLu+sU3BlsOrKO4EglLTgMEDWAat7U6F4nnlh82MvR373X7vSiZj2FYVh94lt1txwLQnuAkpQCVDOozKiSNhyTXH0hcKs2ZadtxlQ6SkpkkAgZgRPIifcKg+mFGbEgP8Bv7zlMvpnlNraeDv8A2l1dJ3wZdTkksUPfbclzz+BXbLlSSqlxF0oGpzTijSqdnNV2ESda7s6UJ7X31IbWo86JsY2HWliK0VuoktOONzvkWpM9JykTQth9QOtEm7uRtUTIpWeU390Drc3H0zn+qpTeJ3PO4eP+a5/qrwjKai3CwmiIT/ylcz/OHvpXPxrocSuP6976Vf40HYxEc6LWz6VDSKpK2LceTS8XuE7vvfSr/GnT0UOZmnz/AIo+6KQ8SbBFOvoc/kbj9aPuJo49Q30LBrK3WU4AF8T/AM0uP1S/sNVyxjF4GkNpW0WhlQEqS2YGVpSZnf8AlE+OnlVjcT/zR/8AVK+w1TCm/wCP48h7qVN8hxQcbxm/cbhlSGwof0SGknfLO2mvOlK3wy8aeFyCC4lWfOpQVrlUqTMz3Qfq8Klq0rxeAuDvKVMQDOw9lLfJt0mpeFuPFPrxZnEy751aLi4WiW4ShaShBEqkaJ56z5GiwxvGcuUuJMA95SWSoQSN4iZB5cqRLpC0EpUSfaYNcu1V84+8896Xu5PRR0iyY41ta9OBz4bbxDtXnGrnsy4vK64QheZaJj1kmQJVt+FCLrh99VwtLiklagp1SpGxJ1IGxJI0/vUDDqvnH3nes7VXzjtG526eVTcqGx0uWM3KLStV0HjD8RxS2QWkOpLadAlfZKgb/K1GhGhMaio76sSVcIeW8A4iQhY7KEhUJISmMvygNuYpUYC1qASVT5nQc/ZTPh2HIAiSpR3NU8iXWzm6yUdN9VyfaJ0ucNvbl0LuFha9EFwlvQDMQIQBMEq99TMVtL+6bSLh0u5VaJV2XdVBE/FpHKRrRnCsPQhIJGvjrUx27QnaBS5ahVwchYHJ3IVsJ4HlQU8e780fjTE1wnbCRCv2jpXRrEwCQTUlp+RvSfaGzQtNFLlAl3gxgnRax7q6I4PZHylUS+EV6Vc66VXnsL2eHYGu8IMnZakn2Ghdxwk8knIpKk8jMGmdazvXJN8Zq1qGgXpYvoJ35NebPeQft+yud9bKjUEU+JXNe7iyS4mFAU6GovqIlp0uhVJw81PtLcoo/ieHhs6bUNW/pTW75RjmnF8nhxUjWn70RtZWbjxdB/6E1XheqyfRWZZe/WD7op0HbB3WPFZWVlPKBfFA/NH/ANUr7Kp8pirYxa6DzLjfq50FMnlIiaTP/pPT+XH7H+6uPLxjRy6T/uPjimvQT3Va1GeejanNfBU/04/Y/wB1eVcD/wCMPoz/AKqU/GNJ9f8AuX5c+whK7+ihoaFXdtkMbjkatJXBIOnbJ/Y/3ULxP0dKUM/wpICQVEdkdYBPz6FeK6aTS3L5m/R6zPpn0uPqiuqkWNmp1UJ9pOwqU5hffUArRKiNuhijuCpSmAEk+z65ra3R1s/jGNxrC7b+R3w/Au7CVR1nc0TTapZG816dxIA5RGm9AsWxMkGKzSm5cHMhiuW+fLDDN8OpJqDjOLhEDYnmaD4ddnrP8b1Au1lbve2HtqlC+BraXI1YM2pXreY8RTCXQkUsYTc5UhIHd69KIyTMKBoJVEiuTJhudK6sXOYz4UH7bKNakWjvPlSdw/ZwMCDQ/EklOo3qVbP6aCvTytPjDE8qaqaEW0wXg2JZ+7OooqblSeRNK2JOpYcCkCATrA1/+KbSgONBXOJmqj1oLIlSZyuAHkkTB8QaVcTwp1qSRmT1GtFlXKtp1H2UXt3TllRBBp2PM4ujNm00ZqyvEXYBq0/RQsFh6P6wfdFBb+2ZUkkoHmABR/0YpSG3wkEDtRv+iK6GDIpvg5+XDsQ61lZWVrM4p3oT2as0BJBBzba6a0vKwxCskvNhGVAOVSdcqXAYkRqVAzv7aPYn/JLHZl2UkFA+UDoR7qWnWUJbn8nL3MpB6EBO3XOr6/Z820EXsdNrn4fu0dV5HB8Eh2zhDyQ82kOKBEqBOpkyqJgyNDMa6wa9O4cpxCM7zcpSEqKVQJCwvuxt3U6CoTtgglM4cswMsBYgDNz11OkjzrjbDswqcOcylSTGZRGmqe7HI+HPzroKD6xfP+37O5XtEiazhwbbV2j7RUcomRBhWYgmM0KgiAYjlRVhITbrRnQo5XFQkyADmIA8BMUDcskjMBhs98jeApOZQKvaAD5kUUtMKabZW6hnsVqZUCidhEx0nQa+FI1G2luk73L6v7Mjyzndla3dt8c5rHfV9pog27kRpoY3qLilqoPLM6FR+2szHIRXpt7lwzm6edZCNcXcGBuevXlNQbwnQT4k1q4Uc8jYfwK8ZiR5mrjE7bZIZfS2knpXrAWe1XmUTqduVRbm2GXLOkEk+NeOEsSXnKQkkjnRVUXJAN3JR7jveOpbRA16ztQKxxEKWO9EHYGlzi1t9bnfc7g1A1gE66gb66TUHDXSp0nKkBRGiAQkfojkKnsynj3tlrUbMnlpFhXzgUox0FdMNVBSFHQb/uqAxZqSAqNzWOWiyCqTvtWDobnCxjxDEOyg6ZdNam4bdNPjvet51VfEOJOpWlsKJGY9J0GwnSak8O8UPpUhK21OAjU5QCkyQDpyPj41tjp57d5iyZsal5fqOvFVvkaUtMmOW/vorwjfh+2Hlp4eFK3EvE0NGAddII/Go/oxxGJBOhNA41Heu4SlfuPqEsTzIdKknY/Ud/ZP20Vtb2EUI4kuFIe09U7+3eh93eEIEH+OVDttluXA6Nw42RR30YsFCLgdXQYnbuJ0PSkvCbz4jUwYpx9FrpU3cEmfjR9xNatG3uowa1oeaytVldQ54n3pQ4hSO0CcwiQpMihQwcafnrugP9Inc5tYGggKgRpoKZuLrNsWVyQ2iQ0uO6nofCqMN8lsd4J9wryD8Hnpvchk6/0ofLUq+UWYvB0ySLxxJVEwtOsCPrrknBCFA/D3YmVd8SrSI0MAezlyqqrnGIOyPcKm4WEu6kD3Cj/h+ZLnJ+lFeevq/Mta0sQhYUbtxYHyVOAjYgT5SPdUy/uUdk530+or5Q6Gq0vbNCUbAHyFCbZaE6kA+wUqfg+6anLJdfBIY9QkuEHbtUuL/SP21GDUkio6MUSDrW2L9KlGDXXULdIxLrwCrtrIVAnnND+0mY0jSjOIgKPjQkNQfL66bt29TsY57oo6tO5iEnyFHfR7Yp+NJiSoiPKl3JKvKmLgtwZlzoZmqfCYb5JWMWYC4UmUmveC4IjtM+X+NKM36kqGmp5Vu3SluAowf31n6cJ8GmM3JW1yE02oIAivKLRIJEVjmIJSBpW2rhKhJ0pb2lreLmO8OsqVnUhKh0I59fbUfDcLQgw2kSTyH203ONhSeorVnbhOoFNTbVXwLlJLmuRL4xwnKySR/wCaC+j5uI/SP203ccX4DRG5OgpV4LSRm67+802X+k0Jx/z2w5xC7JUN94pZZWTAPP7edFeIWldpIOlQMJtVvK0Hj7akeI2E3yFXrrs2gOcRT96F3MzFz+uH3E1WGLMrCoIMCrM9CKSGLmf64f8ApprTpYpM5epk5ZOSyaytVlbxIH4wP5jc/qV/Ya+drq2OqjqK+ieMEzY3I/wV/YapLA0dsvsjAUZAnrBIHtiPbXP1dqaaBtKabVoA4VhTby15jAbaW6rSTlREgCRr3h9Z5U14dgCk+qAnMYGcwqBJJUNYA115eE1EVwg9n7Rp0J2hSSoHvFIBBGpT3xJ5AGa94La3HwhTPwgqUG0OKOdYCVOlsQcw75yuCY676RVODlHkqcrbaVImO8PvuJ3TH6XPKFgbbwQfbQy54TdSpCUkKWpC1KE6AoWUEA8zAk+RpkbwxxYVldUVIcQj1lAZVSNt9CR5CaktYUtcKU7PdJAKlA5YGmoOX1hKfOlKKroAI73Cd0eSNwn1wO8dQnX5UezxrseD3kZChSVBSApSpgJVBUqTGiRGhO+vSmvFOG3FTlfKdIIzr0SM0bRm9Q6CgGI4Y+wUKXcrWSTqla9CEpJ3PzXB9dMTglyi0Rb+w7N3syqYS2Z03WhCztoQM0T4V7VhUgGtuMj1iSTpqSTsIG/gAK6sXnyaqck1waIZXF2gViNipI3AHhv765YM8UuAakExvRHGViKBIuTOhgeH7zzoUrVHRjO+WWgWUpQFdB9dLGLYwWzMSkmPI9T4V7t8UWllKlJVkOgWZg+VAsVfCkrG8jTXnuKT5dzVrg0bmoNrqN2HBL6M3bJBPhI8Km3rXYtZirOB80c+Xs8apJu+dbJAWpEnkYpv4W4ifWVB9eZCU5Uzz6D6pmtuXT49r4MmPUTckrLIwy4JgZQOoqVcNFKc6OVBsEuZgnepuM4sENqA3rnYo9zXmlzwJXGN6VuBMbfbUHDVlkhXzhB89x++vPaZlEk5gTsd/fRa0QOY08ae1SoXF+pFL67heQDQ6T4czTlhdqhlOVA8z1oRZtJCpA1os2ukZH2GwXJ0vbRDg1FMfousi03cDkXQR5ZRS8V04cCnuOfpD7BTtFN+akI1uKOzd6jPW6ysrsnJBHFqosrk9Gl/YaoZF82lRXExG3uq+eLVAWVwTsGlz5Qaop64RBKEDNy08RXP1f8AOgdrnJRXqTvyu2UpMHXlG01qyU2SrIdViDpoROaPekH2VLwdsLCu2hENqUDodQBHn5UaVgqJVlcTkKe6ecwvodSMsx/eApC5VpfMCcNraF59KgNEyKghJnQEGm+2wcAwX0HXaBtJG4V0B+qtowdsBJKwfXnp6hUhW+iARE8yRSp45yVJAJMV3HVklSzJJknxqPcJhOlOD+AtKTGeV5iOYHyYkTMCTqN5FAbvDUtJEvBQzhBOQiAflCT3089OVFDFJJMKmBO20iaLWVunSN66v8OCCe1TInRImSnPKUd7vK7m2miga1+T+xWlPaBzuySkQBqQBM67UcoyXLLi3uBOOJk0Iw+2StwIUlxSSRPZxI85BEe6jOKjWoWEYsbZwqAzAggjwpuNq+TsJDLc2KktFCgVMNgqA1kIiQJjec3speTaWsArcUlO53OkaDQU/YfelaUKWSFZBKNCSDsAdiddj1NLmN41Z2rmRi1JWJzBYEA+Egx7NK0ZotVOP4B5Mjik0L9zZMFIS00VFRlKlQNCNSY1gdDUl7hgssocSuVE5VIPKQSCPDQe+oqLxdw4VIaGePVRsEiTEfxsKgrxlSiU693TU6aaRrSVknJNNf8AQhZot3IODFOwbk79Bz9tBLrEi8s5iSOXl+I/eKgPPKXqTXjnpVQxqKClkcg/Zr9/P8aKWgnegNm7qKNWr3KlTQcWHLdupWaoFos1KWqBWWRpgSc1Ovo+VLbv6Y+6KQc9Pfo6Pxb36Y+6KZol9MgNa/oWN1brKyu4cUCcapmwuh1ZX901UPDtg32iQ6QEEKknl3FZT74q4uLUzZXAmJaXr00NfPq7R8OhKSXFKnLlO4AJP1A1i1F71QEh0fw62JT8dskpUAUkAhJ7x1Bkk6EaabVCusLt0IzNPqWZIynJpCokxBggEiNtJ3oZw+24qSptY80KE89JGulTr7C3BqEL15ZVfhWaTaVOIBMbwq2KsvwgyVEADIdlQDt8oagcp1mK6nC7UKAU+oSAd2+ZHMb6HMDEEdCKXmcJXmO6TvrIM/uNevyYsElRk9SZNJc4vhrkKMW1whotbC2SFK+EASiEkqEgqTrsAQoHTyNcV4FZqUD22VJCPVKe6SAFEzvqOXzqUbhwgwa18Mg+FN4S4QL46ok4qlDa8rZKkwkgmOaUkjTTQkj2VNwwiNIoWS25pOtS8LtFIKpOnKghNSdDMKuSOOKKgnWoeCWqHHxOoT3iNDOo0M8q7Ym0TNA2Lt1hfaIgEcjrI6EVoxVutnXtR6lnrShKwAT3QCfCeQ9nKvGMoGVbrae0WVBAASnMs7ak9NTr0qFgN806yHCtHaKHfQDqD0jf20B4hdcN4y208UgpzLCT6vU6fKKQPcOtbpxjJU+heVxaruFOFMOet7vO80AHNBlIVHODGxj7KC8WcMvNuOvJbHYlZUCkglKSZgjdImfCKZ8PxvVSQrMWwJnUidgT1oilz4UmFLcbkHRKsuYc9xrpyoI4Ip8AvSRrgp9w1jVF+MMGTaFBQvO24DlncFMSDHmKAW7Tjh7iSaFwrqZ2nF7WF7RImjts0dCmgFvYOgaiIO1HbRgiNxWXI0Ogg5bExrXd06VCabI51ObEiDWKSNUDx2oin30aKlp79MfdFV26mKsD0Xn4p79YPuin6NfSoVq39Ex1rK3WV2TkAPjdUYfdnows/wDSaoLDWrl99Cbae2yqywUgxBCvX09UmvoHi8j4FcyJHYrkew1WXAGT8oNQACEObdMhrLlX0iBfUUsKxTE7guBtxa+xSVrILSSEDTMSQMwEcp67610wbim4kpLqgCJBhO/I+ruOR5UzcFPW6hf9jblpXwNwlRfU5I10gpGXWt4Hw8ypeGyygpXZKcc09ZwJ0UfGY99XKDa4ZKIDra8qHFuBZdzH1gVd2BKgNuVC7wqOyiDTDh1uwljD3HgEhwXHaLCZ1To2VDmlJMxU28w9LDN08pLDy222ezKU9woc07XKDAJg+AiseTSybTTJFyi7QtX+COMqKFLbKkMC4UVKiUnYJkaq8KWbpxU1ZnFFo247dqW0lRawxLrYInK4kKykTzFR8ctLO3QlpSc3aWaVoUluVF5UnP2k7aRliAPOtMsSq0Fkbnyyr1OE7b08YMhQt0ZtVESaOLwC0Xe2lsLZCUrbbecWCQVdxZyQNgpQBJmTEUYwNhlx1pBaMpU6F/FhCcoCikQCdUxE1UsQzA9rsT3LWh17hQWDIp6eazWrDhaShxTikwkESnKVJ3Jk7a14fwhSU5in2c6zOEk+DpxyRa5KRxS3Layk7jY1Fs8TW0sKSe8OZ1p243w8FOaNQftoHgfCpWQt8EJ3Cevn0HhWvHljstmTJjk5VEKcGYijItJJzLcCjpvOnLxEmji1KDylhxSkkABPIbbc+uvjXa1s0ITlQgJHgBt7KkItwRHtFKlqG+hqxxcYpP0I1xaIeylaAY0EiY6717TaBI0SB5VMS3lVlO52PurCkDf+OlZ5Sk+rDtN2wdlExFexbhUAfvrvcIMgj31z1HgeVDTZVo7sMkDXX91S0N0OF3B5zU22us21A4hKRBxAa0++ir+Rf/WD7opJxVE604+iNcs3Hg6PuJrRpI+/YjVP3B+rK1WV1TmEHHWkqt3UrEpKFAjqCNqrIYG22e0YQtt4CAEOALAMA8+lWjih+Jc/RP8AGtVvhlwHHLhSYktKKISe4tPNQIOvsImglRaQvHgh9kLVa3TiC4nKsEASDulU6xqalYDgd8w0llV4rKmciEpchIO4zDzPlTSLhFwblQzENsoyJyAEuCe0cS2sCeUFXME7RXoYigM3LyGyOzaSpKHCPWB1PcJypJ3A8ap0QSF2N6hYbbUfi8wbOaQkK0UQIOhkTpzqZheAXZeym5KHXhClQohSQNiYy8tBy8Kbra6KWrd9SFqzh1S0pbTJKj3UyoyAkHQDeBU6wdPaWnd0Wha1aAwvTQq+SBroKB40/UjRXLuGXBUVm4cXmT2azJJLInukRMammqzskoaCFLWW0jRMqiDy01jw2rrgyWQ6ylWUqcJ9aQSOY0EKHgakIC3Wk5EISv4UUJlIAKMqyBpqoaDU0SRGcMqSoKEkmAFEmQBtE7AeFFLVjvHMtZURvnVIB3iDptqd6hXjuVppR1V2jiCrIEZgmYOUcpGhihl1j4kRukQojodj7Kq6fIUeyGS8tkwI3QO4CowCNjExPKd6C3/EQRotBB2I8fPnNV/i3FV2FqQHIIVpoNU8qLYPfruxkWASIBXGnsoHPsOUa6k915LjudIEAa+fSvbkHlXtOH5AQkEid/trohHUfxyrBO3I3wpROHwWJIHLWo8xEaj+AKKIVAg+ygl08AdNuX8eypRTZmJv6g9CK321Abi4U4ZTrv8AvrvardKZKFdIAJo1GxblRNff5fxFR3XCBry+yscw50ZSpTYTMElYkeBHWt3bLOU5LhByzIMzpO0Dw2pixMX5qIlw8PbUzDcw1KT7jUS3tFdmp1IzgeqoiNOsTpB60as3VLbTCu/48/JXLlTFpty5AeoSfB4xO4hG42pp9C72dm6P+MPuJoY3ZpdQrOBqADPL2zI9lMnoxw0MIuEhGUF0H1ioHuJEidhpTcWDy+ReXPvVDrWVusrQZwdxAqLZ49G1fZSBbpSELcQlbS1QlKmjqRKSqBI3AKeusinniwfmVxrHxS9fYar3hpzOy73krW00txiADC4IkDZREnlSpySdMu6ONxfvPPtrBU0ltvIpxZhahJUo6E+AAMned654i2ly2S60+4UvuFlWZU5sgMlZB1EAiNR4UeYQ2FtqUlKnfgDziwQNcpRkUqNirva+BrLFjt7ZgnIl5TjzraAnuF3szCSJ21mOcUNWiN2LdrePJSEKeXpqpLaiEqT5mCOkCpTlypKQg57eTmSkKcSNRqRBABozgrakDI6CoOWy3QC2nQo3K1gDvlRPdGwHKub7q1M3IuO+Aw3cIAbSEthWgSF7qVAJPLXegcMjj1KdgVm6UjTvD+8lRn3zIPjRQErZStBclEwMyozayo66q1Ou9EXjlevUhLYbbYQpKQhIIXkSrNMTrmI6aVtYAJSVesOXSaHHilG7ZSVCribzgTqtwgSo5lLMqjmCarTFeInAtYEpmAY5xV+uNgbyT9oqseKeCWj2zjD5SucwbKdNtUydQZmCdNaYkl1ZadCdhmNrcWlskQTEka6+NXHgtklDYSmBpvVW4BwbJS445lIM5UxI8zT62tSAAHNB4UDyQT4L81erHBBSEkDYbeVLT1ycxgwAf4ioZxJxMwoHSgP5bAGVzuKGkEiTvBgdaTllGa4NGDNFdWNd+8CQkESr1fdS49hzmUledOXQBABmTqT4ePLnXCyWp95ClNmEgwsLUIn+6N9h76ccLuys5VpAGWAsb7Qddpq8cVup9gp5r6C/w2gIbDbSUqUTJQ65ClDcxAiYIgeNccXv3GVr7MGCNArMFI19UgRJ00IMaUdxTAhlJS0CQcwcSVCANjodFCDsK82L6HWkpeSmCJBUQJjUHva/+TWnaI3MDO4Iu5WQnKk5EqCwtRGfmmdYMa+6uFxwotsQHMq8pSqQBKeQSY+umG0Z7JCsighS1TkB7p2hUHll5zUziBqUBRMEj2HSiUQWLnBdv8U4hRnTaQY8SPZ9VT8PaKUKzp7qVRIifdQDhu6U1cFSRKCooWI8hPsIFMrpKHCE7LVlJ6H2+Yo48FM5YoY7wJCVxE6dN5Jinn0eoht3We+Jjaco2pF4oICEyZMwNtPnRTr6Nv5J0SCM6Y5/JG550TfNAjjWVlZULAPHaScOuwNyw4P+k1Qlu5lS12KzJJ76SUERoJgzO+0V9AcXDNZXKQQCWVjXxSelfPt9iKEKDWWUogBKEnvuKgwJ8x7zSpJzltRG6fIVs+JmiF27jikunRSz2mcnoV7q05E1EcuVMq0ccISZTClAJ3ByiYB13GtMWG+jtBIfOj8ZsknLmI0BncjrtSxiC1KXC0EHNlI8dtqwedGU/dvjj/AyUNsrJ9heuGD2rsd4z2rmmaZgBXdJnUjeg+L4ysKyIddCcuWQ67ok7o9b1dpTtRmytABtlPnvUHG8HChmCkp+fz06iOdFDNT5Ym3fQU3MSuM5yuvKUsZT33FFQ5A6yoDoZFWBw5xHcJSErEdSpJnz71JSMOBzBoLUds3qmJ5Ucw0ONaKUoACSCfxp8slrgKmPt1iZ3KielB8NcLr3eJgzM7Hw19lK15xN2fdUnQ7FO49mx+quVlj5StBWArfItOgIPLXY+BEikLFNytvgBY5WGxhBQpYt/wCUSoyFEpJ5gGOWv1Cgi8VuDmStSRl1OgMdee0c6Y8UxhpwFQRDhTlz6CY9U+7TUVBsbAFtztClsaakElWklQA3EdPCtElGXFDHBv0Axxl9c9klJAGq418wJ0Hvr3hNk4t5JcVOZQ1UdyIVkE7aCZiNKmW7OTMGltkczmymN9ELHTzmuRaSoyeWxjTpyge2rjCMOhaxteg8XDjaSEqV2faKCRqN+sj7aKrbS0NFpI8xqOtAeEb5KnwUIyrSy9CgrMJDZ29se+huM8Y4g2SRcqSA0VEZW/WCgABKPH7KJ02u4Wxse04g0VdmVnNBBSDpl2npH4igOL4GlWiXAka5STseoG1V7/xHxWf50Y65G/8ATWI9I2K87lX7Df8Apo3XqWoSLINoISM+YJRoBr9fOueD4t2wU08FJymAVDSNhBG3PQ0Os+JXF2Vm/cLzurL6STlBIDuUbQNBFFUIaVlebMEgpVp11kjrp9dT1Bp9iGUMMLVkKT3wVAqCTGhMTzjWpq37d85mn4IVKgqAeW0/aJpG9IbCASpJBJjNA1J8eW0e6k04gpSQkNz0hJJ+rc1aYO19i7sTwjMhYQAsKMwQDGgnTnrTH6MLDsWnk5CmVpJEk65QNJ22qrOEOLrhpkt3DRUgJhCjIUOk6EqSJ6e+rc9H7iSytXbBxSlAqIIAHdEADcADrUUot8FUxsrK59qnqPfWUZdM+WHbxYBJWuACT3j+NeuBWu1fC194JJJTPyjoD7BOtQ70fFrjeKitl2wfQpJBOih49QfspejinFtnc/8Aop1ljBccWfQ+EX4QkJ3IOmbeKq+9Qk31znZceGdRhskFMqBJ08DHtp/w54OJQsaZkg+RI1FI7T7hvLpTDYc11BUR6q0REEScwGlTVY4xSpCPBm7yN9vs9e4PN1Yj+juCefxiRGp08aDrOZRCMxGpAmTlEnWOg3p1zXq1IUbZCT2fZ/N2KFSYOgJgEbGSIrHcUvUgk2iQCcven5QSjWVd4ypIk7TFYtn/AKjvQzKP8qTfxkhGCvGiFqQFM5my4DugEgq1IiRrNEcVw66uXS78HykwCEwANBG53iN6jYW2521uG4DmoGbacypB8N6HbTNcp45wvi6556cd0T3nLYKyHD3AswkAur9ZXqxpqTIpffZOdWRtSRmMJIJI8DpuBTi85eJYTLLbaGYcSc8gpbU3lSkZjOqd9SdYIqYh6/VHxTR1IkKPdlISCVBfeMKJ5nfpTHG/8GDHnWNWkvvkV+3brUYCVE+R6T9mtdG7B1WWG1GZy6HloYp6TeYkD/INb6ElO+bLHeXr3jAHLYVu0XfMqSjsmlILijIXvmUSrmYhSuk1Wz7Rr1rXRR/ErwzOu9ampmK2bjThDicqj3okHRWo1FQ6Wzpw2yimqG7gRAF7AgTauE+ZbE8zXTG7VpaEjOjeF66lMyPCNtvmivPA4/Pev5qv/wBMda48VOJbZVlEHQHRGxInbUU/GrSPKeKPbn+5EHjW2swUm1UjVIKspJ56bnz0HSllbicsEAGND46VvhyxDr7ja3OzbgrJ05bbnnU67w5tLnd74gjlyy666ayfdTJQpnPhl4DLaUGxw4LCiibqQj1j8aYj2xWE2SZBNyDO3dEeEfxtU1hws2+GqQgqKTckIB1PfMwQNOZ9lSfym/ImxzQggZhmKgmNVkplWmUHYnwpU+p3dJJ+THjv6per7iziq2JT2HaRHezxvpER7ahajwNOycVehQFimAqFd0aEhAgnLpp5aKr0/izy835gMys0KKQTJlOvd1IUoAbe2aDau5ujqXFVsX3yQj5j1r0h1Q2UR5E09N3riVZF4eNCMxSEk93WB3YjUAdJOppMxS47R1a8gRmPqjloB0GvPbnQuNGjBm82TTil96Zx+EL+er9o1lc6yqtmrZHsYK5cRpzvtAayI95q63vRHb5TldWFQcpOoB5SOlK9j6LrltxKn09rlkJLakiN4JC1bCujpovHaZ4nxnV4dVKM8d2rQ38P2OZhKkx3Rr7BVYYA2px10pe7JRIIPIqLiInwBIM+FWZb8JX7bZQ0+0gK6hSiAd9NAdKGH0PdLqP8v/dU1Kc2qA8M1WPBCan616X0AblrcpKB8MzLWsIJSmQAUA5pMZvU0PMCfCtqwh9xJ7S70UoDaCU5UrJy7kylI80mjJ9DiuV2Pov99clehtzWL1P0J/8AcrP5cu3zN/t+D0l+hAm+tblAWfhqSNVjnmPfXvt8g6jmYpYt5UtiXOzKifjOhKla6RpPjVgo9Diud2D/AJX++vavQ8f7X/8Ar/3UMsU36DsXimngmm3+VIWThaykD4emIUCMwjeFR39hEn6prTNq6tTn5+e4oJkkd/TN3ZWJ1AA6npR5foZdnS9QB+oP/uV6R6GnOd4k/wCSR/3Kvy5dvmB/EcH1n+VAn8mykfn5+SEgqT3VQFGRm1AIT029tdH8GcTly4gUpXBGYjcTJ0XrChrG086IL9DLvK9QP8gn/uVivQ26QPz5Og/qD1nT4zSi8uXb5ge34frv8qAzvDSHQlTl6lSyjcqTEz3flTkj2nwoHjGCoYRmD6XDmAKQBse0AM5j8zX9IU8p9Da+d4n6E/669f8ABs/2sfRf76B4pdh+LxbHB8zbXbagB6PklWIIA3NsoD6MUY4gwNxAMlIWVAoSYKSARIVoDrsIo5wr6PV2N0h9VyHAEqTl7PLumBqVHpRrEsKU8tSlEaaN5Vgac58Z+wU2GOSj8Tla7VQzZt0bqkiombK37RegSSn5syOakyJMHpBrVlhKu0KB3tM0jQEeJ5HWpl36P8RdfUsgJSDKPjUctudH2eGL0EEtomACe0bOonUa6T0qPHKzN5kWgXi1ipIw5CVZVAvqChrBCs4332qSixuwohd2gCFKScqVEkKkFUDQgwQdY5UfvOBnLxthK3AypoOSAM05lAjVKtNKhK9ETk/z3u9OzMwfHP8AuqpY5XwjoYNZijijGT5X9KfqCmMNvG0ufHMhanVOEgAlRJAVJy91PcB284rV/aXwzE3LRShSjJAB7pKySnJPydufiKNN+iMx3rsnfZBG/wDzVo+iJWv52df7h6Rr3tap45dvmN9uw3d/pX/ImY1jV4w52a3QYCVDKExBhQjujYgUtOuFRKlEknckyfeatF30OLJn4YPa0T//AHU3D/RA0kHtn1LM6FKcunlJmlvDNm7D4vpMa4Tv4Ip+sq6v+Elr89z31lT2eY7+Pab4/gWJWVlZW48aardZWVCGVlZWVCGVlZWVCGVqt1lQhlZWVlQhlZWVlQhpQrx2Q6D3CsrKhDOyT0HuFZ2Seg9wrKyoQ9JSBsIrdbrKhDKysrKhDKysrKhDKysrKhD/2Q=="/>
          <p:cNvSpPr>
            <a:spLocks noChangeAspect="1" noChangeArrowheads="1"/>
          </p:cNvSpPr>
          <p:nvPr/>
        </p:nvSpPr>
        <p:spPr bwMode="auto">
          <a:xfrm>
            <a:off x="155575" y="-1676400"/>
            <a:ext cx="2628900" cy="350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AutoShape 6" descr="data:image/jpeg;base64,/9j/4AAQSkZJRgABAQAAAQABAAD/2wCEAAkGBxQSEhUUExQWFhUXFxoYGBgYFxccIBwXGhwXGBgcHRwYHSggGBwlHRgXITEhJSkrLi4uFx8zODMsNygtLiwBCgoKDg0OGxAQGywlICQsLCwvNCwsLCwsLCwtLCwsLC8sLCwsLCwsLCwsLCwsLDQsLCwsLCwsLCwsLCwsLCwsLP/AABEIAQMAwgMBIgACEQEDEQH/xAAcAAACAgMBAQAAAAAAAAAAAAAFBgQHAAEDAgj/xABPEAABAwIEAwQECQcKBQMFAAABAgMRAAQFEiExBkFREyJhcQcygZEUI0JSk6GxstEVJHJzksHwMzRDU1RiY4PS4heCosPxs9PhFiUmo8L/xAAbAQACAwEBAQAAAAAAAAAAAAACAwABBAUGB//EADcRAAICAQMCAwQIBQUBAAAAAAABAhEDBBIhMVEFE0EUImGhI1JxgZGSosEVMmKx8TOC0eHwBv/aAAwDAQACEQMRAD8Aui4vm25zuITAzHMoCEjcmdhodfCoY4ktDtcsfSI/GgfF7UouNDHwdcnWNQ5poqPeDVU2drJAEa9aVOe0KMd3Qvi3xm3cVlQ82pXRK0k+4V0fvgmq/wAKxO1tEZUuNgn1lFQkn8PCuF/xkwdnkHyNLefg249Bkk+Uxpv+Lg1uif8Amj91c8I9INm8rIpfYr6OEAHyVMVVeN8QJWDlUD5GlJayTJpUM875Oxj8Gxzh71pn02cftRvcM/SJ/GoWIcX2rQ0cDh6NkK95mBXz+MQ+Lg+sNB5V1t8VjejnnlXCMuDwWbk/M6L5lxOcf/NaEeKvwFe2PSG1MONqSOqSFfVoaqM4uOtRLjEydqSs2WzavB8T4o+hbfia0WkEXDXtWkH2gmRXX/6gtf7Sz9In8a+aWrtSVZgdaYGHw4kKH/g1pWZs5Wu8MlpuU7iXsOILX+0M/SJ/Gt/l61/tDP0ifxqjEqivLj0Vfms5uwvQ8QWv9oZ+kT+NeRxHaf2lj6VH41SIdSoVC7PWq85voVtL/GOWx/p2vpE/jW/y1b/17X7afxqj7dut3BIovMZNpeH5Zt/69r9tP41r8t2/9e1+2n8apWxUwpv419SHM0AZSRl7ve0HTPp5V3LFuIi5Kzp8hSQO8kGSQT6pUdByq97JRcf5bt/69r9tP415/L1t/aGvpE/jVVZLWf5VW567ax8jefx5wONs2yUKKlkLhEDWDPr6gHbpVPLzRTpFtHiC1/tLP0ifxqVZX7TwJacQsAwSlQMHeDFVJ8AsjnzPqmTkgH1Y7ubu6GZpr9FSIZe/WD7oo1K2T0HisrdZRlCBxFeNOO3TYclaGnJbynujIJObNrqenyjVU8QLyhKRzkn2VdOP8O27abu7CPjltKBUSTAyx3RykAUj4jwOhdqi8euuzb7NKj8UVRmIjZWupApGRNnS0OTDjzxk7r9ys6ynSw4OtblWS3xFsuHZK2lInyk6nyofc8FXLd21auAJLqoQ5qUEbkg84HLekbGepjr8DbV0+vKoW6mHCXs5b7JWdKc5TGoQBJV5QQaNcdcHKw4oBcDiXAqCBBBESCJPUa0eex63+GvHMzkNmpAelUlZaSnLObLvpGXlVqPNMVl1z2qeFbk0/kV3XoNmCqDlBgmDEnYTtNPuHJsUoYS67buZHWVEns0/FqQe0SQBJAVE5pM66aUJu8TQuyfQCyg/CkqS2kJTLQbyJKQdTqBJH76jhXqVDXym6UH1SFaspns7m0+DMFxKe0SstOJA1U0paVdp5pRnTO8kUX7axz/GFgq7V8slGXIlrJ8QHI09aICtRzqKHxLnr3F1sfqINE8Ed7xT1E+2mS6vbRDDhSGF3HYsAyElJelYdKMsAkJKZI0kUrYNov2VGqYrUZvaNLkco1XcPZK2pkEVpLorRdojyhFUjKa9pcHWuVwomuTTJNCopOwKrkKMXA60/ejq1bd7btG0LjJGZIVE5uoquRaHerB9FDmX4RMmOz2E/PpsHyU2w7xEizti3mtm5cJAystHaN80daDX3EFjb9mV2oVncS2IZY9ZSSoE67aGjHGmHOXCmA0gnIpZUToBoiNf42NKfEnCN06GsiJyXCHDr8lKFJMdTKhT6QIy4Zi9i/OW0SITm1aa2mOVEbZdktptzsWUhxJUEqQ2DA0+2B7RS5w3w8+zOdG7eUR1zA/ZXu5wl7srZPZLJQypKoEwrtWzHuBPsqUiB9m4w5S0oCbYqUopSIakqEyANz/8ihnowXKLodHyPqFIWC8MXicQsnFWzoQi6dWtRTolKssE+Bp/9GQ7t1+vP2Cqa5RfoOtZWq3RFAniofmdx+qX9hpS4lH/AOPf5LP326b+Jv5o/wDqlfZS3i4/+yDp2TP326CXr9gzFPZNS7NFEtOqQoKSSFJMgjkRsavfi4dvhjL5JDiSw6lQ0KVEpBKTuDCjVOscPuvXAZZSVFZ0PJI5knkBVucWXzaTZYalUqW6yFgHZpBB18VFIHlNJxqk7O/4nlhmeOWPl8v7gRxTwqq8xJhgvOqQGO0cUtQJCcxEJAAAJI3j7KgM2OHqxJWHfBk5ACgO9ovP2gTm6xG4p4VeJbxjs1QC7aJyTzKHHCR5wZ9lIPG2P3lnfOBCW0gqzNq7FElJHzokmZHWjkkuTHpp5clY0693jmue/wASbw1wCx8Nu7a4BcS2lpbSsxByr7TeOegH/LXBeFYbaoWzCbm+UvKloqXAWpUJSSnQBIOus6Gi3otxF+4u7ty5nteyYSZTl7sulOnLQzVfWF6ljFO0c9VN0sqJ5DtFAk+W9BaSXBphHPkyTjKb91J8Pq6GfivCrPCksIWwm4ccJU4palJASCM2RKTpvpM7azUrE+A7du+s8oJtrlSklBUZSoNrcTB3gx9VFvSxfvsBl1lKFNkFKippC4OhTqoGARPupb4W4kvLu+sU3BlsOrKO4EglLTgMEDWAat7U6F4nnlh82MvR373X7vSiZj2FYVh94lt1txwLQnuAkpQCVDOozKiSNhyTXH0hcKs2ZadtxlQ6SkpkkAgZgRPIifcKg+mFGbEgP8Bv7zlMvpnlNraeDv8A2l1dJ3wZdTkksUPfbclzz+BXbLlSSqlxF0oGpzTijSqdnNV2ESda7s6UJ7X31IbWo86JsY2HWliK0VuoktOONzvkWpM9JykTQth9QOtEm7uRtUTIpWeU390Drc3H0zn+qpTeJ3PO4eP+a5/qrwjKai3CwmiIT/ylcz/OHvpXPxrocSuP6976Vf40HYxEc6LWz6VDSKpK2LceTS8XuE7vvfSr/GnT0UOZmnz/AIo+6KQ8SbBFOvoc/kbj9aPuJo49Q30LBrK3WU4AF8T/AM0uP1S/sNVyxjF4GkNpW0WhlQEqS2YGVpSZnf8AlE+OnlVjcT/zR/8AVK+w1TCm/wCP48h7qVN8hxQcbxm/cbhlSGwof0SGknfLO2mvOlK3wy8aeFyCC4lWfOpQVrlUqTMz3Qfq8Klq0rxeAuDvKVMQDOw9lLfJt0mpeFuPFPrxZnEy751aLi4WiW4ShaShBEqkaJ56z5GiwxvGcuUuJMA95SWSoQSN4iZB5cqRLpC0EpUSfaYNcu1V84+8896Xu5PRR0iyY41ta9OBz4bbxDtXnGrnsy4vK64QheZaJj1kmQJVt+FCLrh99VwtLiklagp1SpGxJ1IGxJI0/vUDDqvnH3nes7VXzjtG526eVTcqGx0uWM3KLStV0HjD8RxS2QWkOpLadAlfZKgb/K1GhGhMaio76sSVcIeW8A4iQhY7KEhUJISmMvygNuYpUYC1qASVT5nQc/ZTPh2HIAiSpR3NU8iXWzm6yUdN9VyfaJ0ucNvbl0LuFha9EFwlvQDMQIQBMEq99TMVtL+6bSLh0u5VaJV2XdVBE/FpHKRrRnCsPQhIJGvjrUx27QnaBS5ahVwchYHJ3IVsJ4HlQU8e780fjTE1wnbCRCv2jpXRrEwCQTUlp+RvSfaGzQtNFLlAl3gxgnRax7q6I4PZHylUS+EV6Vc66VXnsL2eHYGu8IMnZakn2Ghdxwk8knIpKk8jMGmdazvXJN8Zq1qGgXpYvoJ35NebPeQft+yud9bKjUEU+JXNe7iyS4mFAU6GovqIlp0uhVJw81PtLcoo/ieHhs6bUNW/pTW75RjmnF8nhxUjWn70RtZWbjxdB/6E1XheqyfRWZZe/WD7op0HbB3WPFZWVlPKBfFA/NH/ANUr7Kp8pirYxa6DzLjfq50FMnlIiaTP/pPT+XH7H+6uPLxjRy6T/uPjimvQT3Va1GeejanNfBU/04/Y/wB1eVcD/wCMPoz/AKqU/GNJ9f8AuX5c+whK7+ihoaFXdtkMbjkatJXBIOnbJ/Y/3ULxP0dKUM/wpICQVEdkdYBPz6FeK6aTS3L5m/R6zPpn0uPqiuqkWNmp1UJ9pOwqU5hffUArRKiNuhijuCpSmAEk+z65ra3R1s/jGNxrC7b+R3w/Au7CVR1nc0TTapZG816dxIA5RGm9AsWxMkGKzSm5cHMhiuW+fLDDN8OpJqDjOLhEDYnmaD4ddnrP8b1Au1lbve2HtqlC+BraXI1YM2pXreY8RTCXQkUsYTc5UhIHd69KIyTMKBoJVEiuTJhudK6sXOYz4UH7bKNakWjvPlSdw/ZwMCDQ/EklOo3qVbP6aCvTytPjDE8qaqaEW0wXg2JZ+7OooqblSeRNK2JOpYcCkCATrA1/+KbSgONBXOJmqj1oLIlSZyuAHkkTB8QaVcTwp1qSRmT1GtFlXKtp1H2UXt3TllRBBp2PM4ujNm00ZqyvEXYBq0/RQsFh6P6wfdFBb+2ZUkkoHmABR/0YpSG3wkEDtRv+iK6GDIpvg5+XDsQ61lZWVrM4p3oT2as0BJBBzba6a0vKwxCskvNhGVAOVSdcqXAYkRqVAzv7aPYn/JLHZl2UkFA+UDoR7qWnWUJbn8nL3MpB6EBO3XOr6/Z820EXsdNrn4fu0dV5HB8Eh2zhDyQ82kOKBEqBOpkyqJgyNDMa6wa9O4cpxCM7zcpSEqKVQJCwvuxt3U6CoTtgglM4cswMsBYgDNz11OkjzrjbDswqcOcylSTGZRGmqe7HI+HPzroKD6xfP+37O5XtEiazhwbbV2j7RUcomRBhWYgmM0KgiAYjlRVhITbrRnQo5XFQkyADmIA8BMUDcskjMBhs98jeApOZQKvaAD5kUUtMKabZW6hnsVqZUCidhEx0nQa+FI1G2luk73L6v7Mjyzndla3dt8c5rHfV9pog27kRpoY3qLilqoPLM6FR+2szHIRXpt7lwzm6edZCNcXcGBuevXlNQbwnQT4k1q4Uc8jYfwK8ZiR5mrjE7bZIZfS2knpXrAWe1XmUTqduVRbm2GXLOkEk+NeOEsSXnKQkkjnRVUXJAN3JR7jveOpbRA16ztQKxxEKWO9EHYGlzi1t9bnfc7g1A1gE66gb66TUHDXSp0nKkBRGiAQkfojkKnsynj3tlrUbMnlpFhXzgUox0FdMNVBSFHQb/uqAxZqSAqNzWOWiyCqTvtWDobnCxjxDEOyg6ZdNam4bdNPjvet51VfEOJOpWlsKJGY9J0GwnSak8O8UPpUhK21OAjU5QCkyQDpyPj41tjp57d5iyZsal5fqOvFVvkaUtMmOW/vorwjfh+2Hlp4eFK3EvE0NGAddII/Go/oxxGJBOhNA41Heu4SlfuPqEsTzIdKknY/Ud/ZP20Vtb2EUI4kuFIe09U7+3eh93eEIEH+OVDttluXA6Nw42RR30YsFCLgdXQYnbuJ0PSkvCbz4jUwYpx9FrpU3cEmfjR9xNatG3uowa1oeaytVldQ54n3pQ4hSO0CcwiQpMihQwcafnrugP9Inc5tYGggKgRpoKZuLrNsWVyQ2iQ0uO6nofCqMN8lsd4J9wryD8Hnpvchk6/0ofLUq+UWYvB0ySLxxJVEwtOsCPrrknBCFA/D3YmVd8SrSI0MAezlyqqrnGIOyPcKm4WEu6kD3Cj/h+ZLnJ+lFeevq/Mta0sQhYUbtxYHyVOAjYgT5SPdUy/uUdk530+or5Q6Gq0vbNCUbAHyFCbZaE6kA+wUqfg+6anLJdfBIY9QkuEHbtUuL/SP21GDUkio6MUSDrW2L9KlGDXXULdIxLrwCrtrIVAnnND+0mY0jSjOIgKPjQkNQfL66bt29TsY57oo6tO5iEnyFHfR7Yp+NJiSoiPKl3JKvKmLgtwZlzoZmqfCYb5JWMWYC4UmUmveC4IjtM+X+NKM36kqGmp5Vu3SluAowf31n6cJ8GmM3JW1yE02oIAivKLRIJEVjmIJSBpW2rhKhJ0pb2lreLmO8OsqVnUhKh0I59fbUfDcLQgw2kSTyH203ONhSeorVnbhOoFNTbVXwLlJLmuRL4xwnKySR/wCaC+j5uI/SP203ccX4DRG5OgpV4LSRm67+802X+k0Jx/z2w5xC7JUN94pZZWTAPP7edFeIWldpIOlQMJtVvK0Hj7akeI2E3yFXrrs2gOcRT96F3MzFz+uH3E1WGLMrCoIMCrM9CKSGLmf64f8ApprTpYpM5epk5ZOSyaytVlbxIH4wP5jc/qV/Ya+drq2OqjqK+ieMEzY3I/wV/YapLA0dsvsjAUZAnrBIHtiPbXP1dqaaBtKabVoA4VhTby15jAbaW6rSTlREgCRr3h9Z5U14dgCk+qAnMYGcwqBJJUNYA115eE1EVwg9n7Rp0J2hSSoHvFIBBGpT3xJ5AGa94La3HwhTPwgqUG0OKOdYCVOlsQcw75yuCY676RVODlHkqcrbaVImO8PvuJ3TH6XPKFgbbwQfbQy54TdSpCUkKWpC1KE6AoWUEA8zAk+RpkbwxxYVldUVIcQj1lAZVSNt9CR5CaktYUtcKU7PdJAKlA5YGmoOX1hKfOlKKroAI73Cd0eSNwn1wO8dQnX5UezxrseD3kZChSVBSApSpgJVBUqTGiRGhO+vSmvFOG3FTlfKdIIzr0SM0bRm9Q6CgGI4Y+wUKXcrWSTqla9CEpJ3PzXB9dMTglyi0Rb+w7N3syqYS2Z03WhCztoQM0T4V7VhUgGtuMj1iSTpqSTsIG/gAK6sXnyaqck1waIZXF2gViNipI3AHhv765YM8UuAakExvRHGViKBIuTOhgeH7zzoUrVHRjO+WWgWUpQFdB9dLGLYwWzMSkmPI9T4V7t8UWllKlJVkOgWZg+VAsVfCkrG8jTXnuKT5dzVrg0bmoNrqN2HBL6M3bJBPhI8Km3rXYtZirOB80c+Xs8apJu+dbJAWpEnkYpv4W4ifWVB9eZCU5Uzz6D6pmtuXT49r4MmPUTckrLIwy4JgZQOoqVcNFKc6OVBsEuZgnepuM4sENqA3rnYo9zXmlzwJXGN6VuBMbfbUHDVlkhXzhB89x++vPaZlEk5gTsd/fRa0QOY08ae1SoXF+pFL67heQDQ6T4czTlhdqhlOVA8z1oRZtJCpA1os2ukZH2GwXJ0vbRDg1FMfousi03cDkXQR5ZRS8V04cCnuOfpD7BTtFN+akI1uKOzd6jPW6ysrsnJBHFqosrk9Gl/YaoZF82lRXExG3uq+eLVAWVwTsGlz5Qaop64RBKEDNy08RXP1f8AOgdrnJRXqTvyu2UpMHXlG01qyU2SrIdViDpoROaPekH2VLwdsLCu2hENqUDodQBHn5UaVgqJVlcTkKe6ecwvodSMsx/eApC5VpfMCcNraF59KgNEyKghJnQEGm+2wcAwX0HXaBtJG4V0B+qtowdsBJKwfXnp6hUhW+iARE8yRSp45yVJAJMV3HVklSzJJknxqPcJhOlOD+AtKTGeV5iOYHyYkTMCTqN5FAbvDUtJEvBQzhBOQiAflCT3089OVFDFJJMKmBO20iaLWVunSN66v8OCCe1TInRImSnPKUd7vK7m2miga1+T+xWlPaBzuySkQBqQBM67UcoyXLLi3uBOOJk0Iw+2StwIUlxSSRPZxI85BEe6jOKjWoWEYsbZwqAzAggjwpuNq+TsJDLc2KktFCgVMNgqA1kIiQJjec3speTaWsArcUlO53OkaDQU/YfelaUKWSFZBKNCSDsAdiddj1NLmN41Z2rmRi1JWJzBYEA+Egx7NK0ZotVOP4B5Mjik0L9zZMFIS00VFRlKlQNCNSY1gdDUl7hgssocSuVE5VIPKQSCPDQe+oqLxdw4VIaGePVRsEiTEfxsKgrxlSiU693TU6aaRrSVknJNNf8AQhZot3IODFOwbk79Bz9tBLrEi8s5iSOXl+I/eKgPPKXqTXjnpVQxqKClkcg/Zr9/P8aKWgnegNm7qKNWr3KlTQcWHLdupWaoFos1KWqBWWRpgSc1Ovo+VLbv6Y+6KQc9Pfo6Pxb36Y+6KZol9MgNa/oWN1brKyu4cUCcapmwuh1ZX901UPDtg32iQ6QEEKknl3FZT74q4uLUzZXAmJaXr00NfPq7R8OhKSXFKnLlO4AJP1A1i1F71QEh0fw62JT8dskpUAUkAhJ7x1Bkk6EaabVCusLt0IzNPqWZIynJpCokxBggEiNtJ3oZw+24qSptY80KE89JGulTr7C3BqEL15ZVfhWaTaVOIBMbwq2KsvwgyVEADIdlQDt8oagcp1mK6nC7UKAU+oSAd2+ZHMb6HMDEEdCKXmcJXmO6TvrIM/uNevyYsElRk9SZNJc4vhrkKMW1whotbC2SFK+EASiEkqEgqTrsAQoHTyNcV4FZqUD22VJCPVKe6SAFEzvqOXzqUbhwgwa18Mg+FN4S4QL46ok4qlDa8rZKkwkgmOaUkjTTQkj2VNwwiNIoWS25pOtS8LtFIKpOnKghNSdDMKuSOOKKgnWoeCWqHHxOoT3iNDOo0M8q7Ym0TNA2Lt1hfaIgEcjrI6EVoxVutnXtR6lnrShKwAT3QCfCeQ9nKvGMoGVbrae0WVBAASnMs7ak9NTr0qFgN806yHCtHaKHfQDqD0jf20B4hdcN4y208UgpzLCT6vU6fKKQPcOtbpxjJU+heVxaruFOFMOet7vO80AHNBlIVHODGxj7KC8WcMvNuOvJbHYlZUCkglKSZgjdImfCKZ8PxvVSQrMWwJnUidgT1oilz4UmFLcbkHRKsuYc9xrpyoI4Ip8AvSRrgp9w1jVF+MMGTaFBQvO24DlncFMSDHmKAW7Tjh7iSaFwrqZ2nF7WF7RImjts0dCmgFvYOgaiIO1HbRgiNxWXI0Ogg5bExrXd06VCabI51ObEiDWKSNUDx2oin30aKlp79MfdFV26mKsD0Xn4p79YPuin6NfSoVq39Ex1rK3WV2TkAPjdUYfdnows/wDSaoLDWrl99Cbae2yqywUgxBCvX09UmvoHi8j4FcyJHYrkew1WXAGT8oNQACEObdMhrLlX0iBfUUsKxTE7guBtxa+xSVrILSSEDTMSQMwEcp67610wbim4kpLqgCJBhO/I+ruOR5UzcFPW6hf9jblpXwNwlRfU5I10gpGXWt4Hw8ypeGyygpXZKcc09ZwJ0UfGY99XKDa4ZKIDra8qHFuBZdzH1gVd2BKgNuVC7wqOyiDTDh1uwljD3HgEhwXHaLCZ1To2VDmlJMxU28w9LDN08pLDy222ezKU9woc07XKDAJg+AiseTSybTTJFyi7QtX+COMqKFLbKkMC4UVKiUnYJkaq8KWbpxU1ZnFFo247dqW0lRawxLrYInK4kKykTzFR8ctLO3QlpSc3aWaVoUluVF5UnP2k7aRliAPOtMsSq0Fkbnyyr1OE7b08YMhQt0ZtVESaOLwC0Xe2lsLZCUrbbecWCQVdxZyQNgpQBJmTEUYwNhlx1pBaMpU6F/FhCcoCikQCdUxE1UsQzA9rsT3LWh17hQWDIp6eazWrDhaShxTikwkESnKVJ3Jk7a14fwhSU5in2c6zOEk+DpxyRa5KRxS3Layk7jY1Fs8TW0sKSe8OZ1p243w8FOaNQftoHgfCpWQt8EJ3Cevn0HhWvHljstmTJjk5VEKcGYijItJJzLcCjpvOnLxEmji1KDylhxSkkABPIbbc+uvjXa1s0ITlQgJHgBt7KkItwRHtFKlqG+hqxxcYpP0I1xaIeylaAY0EiY6717TaBI0SB5VMS3lVlO52PurCkDf+OlZ5Sk+rDtN2wdlExFexbhUAfvrvcIMgj31z1HgeVDTZVo7sMkDXX91S0N0OF3B5zU22us21A4hKRBxAa0++ir+Rf/WD7opJxVE604+iNcs3Hg6PuJrRpI+/YjVP3B+rK1WV1TmEHHWkqt3UrEpKFAjqCNqrIYG22e0YQtt4CAEOALAMA8+lWjih+Jc/RP8AGtVvhlwHHLhSYktKKISe4tPNQIOvsImglRaQvHgh9kLVa3TiC4nKsEASDulU6xqalYDgd8w0llV4rKmciEpchIO4zDzPlTSLhFwblQzENsoyJyAEuCe0cS2sCeUFXME7RXoYigM3LyGyOzaSpKHCPWB1PcJypJ3A8ap0QSF2N6hYbbUfi8wbOaQkK0UQIOhkTpzqZheAXZeym5KHXhClQohSQNiYy8tBy8Kbra6KWrd9SFqzh1S0pbTJKj3UyoyAkHQDeBU6wdPaWnd0Wha1aAwvTQq+SBroKB40/UjRXLuGXBUVm4cXmT2azJJLInukRMammqzskoaCFLWW0jRMqiDy01jw2rrgyWQ6ylWUqcJ9aQSOY0EKHgakIC3Wk5EISv4UUJlIAKMqyBpqoaDU0SRGcMqSoKEkmAFEmQBtE7AeFFLVjvHMtZURvnVIB3iDptqd6hXjuVppR1V2jiCrIEZgmYOUcpGhihl1j4kRukQojodj7Kq6fIUeyGS8tkwI3QO4CowCNjExPKd6C3/EQRotBB2I8fPnNV/i3FV2FqQHIIVpoNU8qLYPfruxkWASIBXGnsoHPsOUa6k915LjudIEAa+fSvbkHlXtOH5AQkEid/trohHUfxyrBO3I3wpROHwWJIHLWo8xEaj+AKKIVAg+ygl08AdNuX8eypRTZmJv6g9CK321Abi4U4ZTrv8AvrvardKZKFdIAJo1GxblRNff5fxFR3XCBry+yscw50ZSpTYTMElYkeBHWt3bLOU5LhByzIMzpO0Dw2pixMX5qIlw8PbUzDcw1KT7jUS3tFdmp1IzgeqoiNOsTpB60as3VLbTCu/48/JXLlTFpty5AeoSfB4xO4hG42pp9C72dm6P+MPuJoY3ZpdQrOBqADPL2zI9lMnoxw0MIuEhGUF0H1ioHuJEidhpTcWDy+ReXPvVDrWVusrQZwdxAqLZ49G1fZSBbpSELcQlbS1QlKmjqRKSqBI3AKeusinniwfmVxrHxS9fYar3hpzOy73krW00txiADC4IkDZREnlSpySdMu6ONxfvPPtrBU0ltvIpxZhahJUo6E+AAMned654i2ly2S60+4UvuFlWZU5sgMlZB1EAiNR4UeYQ2FtqUlKnfgDziwQNcpRkUqNirva+BrLFjt7ZgnIl5TjzraAnuF3szCSJ21mOcUNWiN2LdrePJSEKeXpqpLaiEqT5mCOkCpTlypKQg57eTmSkKcSNRqRBABozgrakDI6CoOWy3QC2nQo3K1gDvlRPdGwHKub7q1M3IuO+Aw3cIAbSEthWgSF7qVAJPLXegcMjj1KdgVm6UjTvD+8lRn3zIPjRQErZStBclEwMyozayo66q1Ou9EXjlevUhLYbbYQpKQhIIXkSrNMTrmI6aVtYAJSVesOXSaHHilG7ZSVCribzgTqtwgSo5lLMqjmCarTFeInAtYEpmAY5xV+uNgbyT9oqseKeCWj2zjD5SucwbKdNtUydQZmCdNaYkl1ZadCdhmNrcWlskQTEka6+NXHgtklDYSmBpvVW4BwbJS445lIM5UxI8zT62tSAAHNB4UDyQT4L81erHBBSEkDYbeVLT1ycxgwAf4ioZxJxMwoHSgP5bAGVzuKGkEiTvBgdaTllGa4NGDNFdWNd+8CQkESr1fdS49hzmUledOXQBABmTqT4ePLnXCyWp95ClNmEgwsLUIn+6N9h76ccLuys5VpAGWAsb7Qddpq8cVup9gp5r6C/w2gIbDbSUqUTJQ65ClDcxAiYIgeNccXv3GVr7MGCNArMFI19UgRJ00IMaUdxTAhlJS0CQcwcSVCANjodFCDsK82L6HWkpeSmCJBUQJjUHva/+TWnaI3MDO4Iu5WQnKk5EqCwtRGfmmdYMa+6uFxwotsQHMq8pSqQBKeQSY+umG0Z7JCsighS1TkB7p2hUHll5zUziBqUBRMEj2HSiUQWLnBdv8U4hRnTaQY8SPZ9VT8PaKUKzp7qVRIifdQDhu6U1cFSRKCooWI8hPsIFMrpKHCE7LVlJ6H2+Yo48FM5YoY7wJCVxE6dN5Jinn0eoht3We+Jjaco2pF4oICEyZMwNtPnRTr6Nv5J0SCM6Y5/JG550TfNAjjWVlZULAPHaScOuwNyw4P+k1Qlu5lS12KzJJ76SUERoJgzO+0V9AcXDNZXKQQCWVjXxSelfPt9iKEKDWWUogBKEnvuKgwJ8x7zSpJzltRG6fIVs+JmiF27jikunRSz2mcnoV7q05E1EcuVMq0ccISZTClAJ3ByiYB13GtMWG+jtBIfOj8ZsknLmI0BncjrtSxiC1KXC0EHNlI8dtqwedGU/dvjj/AyUNsrJ9heuGD2rsd4z2rmmaZgBXdJnUjeg+L4ysKyIddCcuWQ67ok7o9b1dpTtRmytABtlPnvUHG8HChmCkp+fz06iOdFDNT5Ym3fQU3MSuM5yuvKUsZT33FFQ5A6yoDoZFWBw5xHcJSErEdSpJnz71JSMOBzBoLUds3qmJ5Ucw0ONaKUoACSCfxp8slrgKmPt1iZ3KielB8NcLr3eJgzM7Hw19lK15xN2fdUnQ7FO49mx+quVlj5StBWArfItOgIPLXY+BEikLFNytvgBY5WGxhBQpYt/wCUSoyFEpJ5gGOWv1Cgi8VuDmStSRl1OgMdee0c6Y8UxhpwFQRDhTlz6CY9U+7TUVBsbAFtztClsaakElWklQA3EdPCtElGXFDHBv0Axxl9c9klJAGq418wJ0Hvr3hNk4t5JcVOZQ1UdyIVkE7aCZiNKmW7OTMGltkczmymN9ELHTzmuRaSoyeWxjTpyge2rjCMOhaxteg8XDjaSEqV2faKCRqN+sj7aKrbS0NFpI8xqOtAeEb5KnwUIyrSy9CgrMJDZ29se+huM8Y4g2SRcqSA0VEZW/WCgABKPH7KJ02u4Wxse04g0VdmVnNBBSDpl2npH4igOL4GlWiXAka5STseoG1V7/xHxWf50Y65G/8ATWI9I2K87lX7Df8Apo3XqWoSLINoISM+YJRoBr9fOueD4t2wU08FJymAVDSNhBG3PQ0Os+JXF2Vm/cLzurL6STlBIDuUbQNBFFUIaVlebMEgpVp11kjrp9dT1Bp9iGUMMLVkKT3wVAqCTGhMTzjWpq37d85mn4IVKgqAeW0/aJpG9IbCASpJBJjNA1J8eW0e6k04gpSQkNz0hJJ+rc1aYO19i7sTwjMhYQAsKMwQDGgnTnrTH6MLDsWnk5CmVpJEk65QNJ22qrOEOLrhpkt3DRUgJhCjIUOk6EqSJ6e+rc9H7iSytXbBxSlAqIIAHdEADcADrUUot8FUxsrK59qnqPfWUZdM+WHbxYBJWuACT3j+NeuBWu1fC194JJJTPyjoD7BOtQ70fFrjeKitl2wfQpJBOih49QfspejinFtnc/8Aop1ljBccWfQ+EX4QkJ3IOmbeKq+9Qk31znZceGdRhskFMqBJ08DHtp/w54OJQsaZkg+RI1FI7T7hvLpTDYc11BUR6q0REEScwGlTVY4xSpCPBm7yN9vs9e4PN1Yj+juCefxiRGp08aDrOZRCMxGpAmTlEnWOg3p1zXq1IUbZCT2fZ/N2KFSYOgJgEbGSIrHcUvUgk2iQCcven5QSjWVd4ypIk7TFYtn/AKjvQzKP8qTfxkhGCvGiFqQFM5my4DugEgq1IiRrNEcVw66uXS78HykwCEwANBG53iN6jYW2521uG4DmoGbacypB8N6HbTNcp45wvi6556cd0T3nLYKyHD3AswkAur9ZXqxpqTIpffZOdWRtSRmMJIJI8DpuBTi85eJYTLLbaGYcSc8gpbU3lSkZjOqd9SdYIqYh6/VHxTR1IkKPdlISCVBfeMKJ5nfpTHG/8GDHnWNWkvvkV+3brUYCVE+R6T9mtdG7B1WWG1GZy6HloYp6TeYkD/INb6ElO+bLHeXr3jAHLYVu0XfMqSjsmlILijIXvmUSrmYhSuk1Wz7Rr1rXRR/ErwzOu9ampmK2bjThDicqj3okHRWo1FQ6Wzpw2yimqG7gRAF7AgTauE+ZbE8zXTG7VpaEjOjeF66lMyPCNtvmivPA4/Pev5qv/wBMda48VOJbZVlEHQHRGxInbUU/GrSPKeKPbn+5EHjW2swUm1UjVIKspJ56bnz0HSllbicsEAGND46VvhyxDr7ja3OzbgrJ05bbnnU67w5tLnd74gjlyy666ayfdTJQpnPhl4DLaUGxw4LCiibqQj1j8aYj2xWE2SZBNyDO3dEeEfxtU1hws2+GqQgqKTckIB1PfMwQNOZ9lSfym/ImxzQggZhmKgmNVkplWmUHYnwpU+p3dJJ+THjv6per7iziq2JT2HaRHezxvpER7ahajwNOycVehQFimAqFd0aEhAgnLpp5aKr0/izy835gMys0KKQTJlOvd1IUoAbe2aDau5ujqXFVsX3yQj5j1r0h1Q2UR5E09N3riVZF4eNCMxSEk93WB3YjUAdJOppMxS47R1a8gRmPqjloB0GvPbnQuNGjBm82TTil96Zx+EL+er9o1lc6yqtmrZHsYK5cRpzvtAayI95q63vRHb5TldWFQcpOoB5SOlK9j6LrltxKn09rlkJLakiN4JC1bCujpovHaZ4nxnV4dVKM8d2rQ38P2OZhKkx3Rr7BVYYA2px10pe7JRIIPIqLiInwBIM+FWZb8JX7bZQ0+0gK6hSiAd9NAdKGH0PdLqP8v/dU1Kc2qA8M1WPBCan616X0AblrcpKB8MzLWsIJSmQAUA5pMZvU0PMCfCtqwh9xJ7S70UoDaCU5UrJy7kylI80mjJ9DiuV2Pov99clehtzWL1P0J/8AcrP5cu3zN/t+D0l+hAm+tblAWfhqSNVjnmPfXvt8g6jmYpYt5UtiXOzKifjOhKla6RpPjVgo9Diud2D/AJX++vavQ8f7X/8Ar/3UMsU36DsXimngmm3+VIWThaykD4emIUCMwjeFR39hEn6prTNq6tTn5+e4oJkkd/TN3ZWJ1AA6npR5foZdnS9QB+oP/uV6R6GnOd4k/wCSR/3Kvy5dvmB/EcH1n+VAn8mykfn5+SEgqT3VQFGRm1AIT029tdH8GcTly4gUpXBGYjcTJ0XrChrG086IL9DLvK9QP8gn/uVivQ26QPz5Og/qD1nT4zSi8uXb5ge34frv8qAzvDSHQlTl6lSyjcqTEz3flTkj2nwoHjGCoYRmD6XDmAKQBse0AM5j8zX9IU8p9Da+d4n6E/669f8ABs/2sfRf76B4pdh+LxbHB8zbXbagB6PklWIIA3NsoD6MUY4gwNxAMlIWVAoSYKSARIVoDrsIo5wr6PV2N0h9VyHAEqTl7PLumBqVHpRrEsKU8tSlEaaN5Vgac58Z+wU2GOSj8Tla7VQzZt0bqkiombK37RegSSn5syOakyJMHpBrVlhKu0KB3tM0jQEeJ5HWpl36P8RdfUsgJSDKPjUctudH2eGL0EEtomACe0bOonUa6T0qPHKzN5kWgXi1ipIw5CVZVAvqChrBCs4332qSixuwohd2gCFKScqVEkKkFUDQgwQdY5UfvOBnLxthK3AypoOSAM05lAjVKtNKhK9ETk/z3u9OzMwfHP8AuqpY5XwjoYNZijijGT5X9KfqCmMNvG0ufHMhanVOEgAlRJAVJy91PcB284rV/aXwzE3LRShSjJAB7pKySnJPydufiKNN+iMx3rsnfZBG/wDzVo+iJWv52df7h6Rr3tap45dvmN9uw3d/pX/ImY1jV4w52a3QYCVDKExBhQjujYgUtOuFRKlEknckyfeatF30OLJn4YPa0T//AHU3D/RA0kHtn1LM6FKcunlJmlvDNm7D4vpMa4Tv4Ip+sq6v+Elr89z31lT2eY7+Pab4/gWJWVlZW48aardZWVCGVlZWVCGVlZWVCGVqt1lQhlZWVlQhlZWVlQhpQrx2Q6D3CsrKhDOyT0HuFZ2Seg9wrKyoQ9JSBsIrdbrKhDKysrKhDKysrKhDKysrKhD/2Q=="/>
          <p:cNvSpPr>
            <a:spLocks noChangeAspect="1" noChangeArrowheads="1"/>
          </p:cNvSpPr>
          <p:nvPr/>
        </p:nvSpPr>
        <p:spPr bwMode="auto">
          <a:xfrm>
            <a:off x="307975" y="-1524000"/>
            <a:ext cx="2628900" cy="350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AutoShape 8" descr="data:image/jpeg;base64,/9j/4AAQSkZJRgABAQAAAQABAAD/2wCEAAkGBxQSEhUUExQWFhUXFxoYGBgYFxccIBwXGhwXGBgcHRwYHSggGBwlHRgXITEhJSkrLi4uFx8zODMsNygtLiwBCgoKDg0OGxAQGywlICQsLCwvNCwsLCwsLCwtLCwsLC8sLCwsLCwsLCwsLCwsLDQsLCwsLCwsLCwsLCwsLCwsLP/AABEIAQMAwgMBIgACEQEDEQH/xAAcAAACAgMBAQAAAAAAAAAAAAAFBgQHAAEDAgj/xABPEAABAwIEAwQECQcKBQMFAAABAgMRAAQFEiExBkFREyJhcQcygZEUI0JSk6GxstEVJHJzksHwMzRDU1RiY4PS4heCosPxs9PhFiUmo8L/xAAbAQACAwEBAQAAAAAAAAAAAAACAwABBAUGB//EADcRAAICAQMCAwQIBQUBAAAAAAABAhEDBBIhMVEFE0EUImGhI1JxgZGSosEVMmKx8TOC0eHwBv/aAAwDAQACEQMRAD8Aui4vm25zuITAzHMoCEjcmdhodfCoY4ktDtcsfSI/GgfF7UouNDHwdcnWNQ5poqPeDVU2drJAEa9aVOe0KMd3Qvi3xm3cVlQ82pXRK0k+4V0fvgmq/wAKxO1tEZUuNgn1lFQkn8PCuF/xkwdnkHyNLefg249Bkk+Uxpv+Lg1uif8Amj91c8I9INm8rIpfYr6OEAHyVMVVeN8QJWDlUD5GlJayTJpUM875Oxj8Gxzh71pn02cftRvcM/SJ/GoWIcX2rQ0cDh6NkK95mBXz+MQ+Lg+sNB5V1t8VjejnnlXCMuDwWbk/M6L5lxOcf/NaEeKvwFe2PSG1MONqSOqSFfVoaqM4uOtRLjEydqSs2WzavB8T4o+hbfia0WkEXDXtWkH2gmRXX/6gtf7Sz9In8a+aWrtSVZgdaYGHw4kKH/g1pWZs5Wu8MlpuU7iXsOILX+0M/SJ/Gt/l61/tDP0ifxqjEqivLj0Vfms5uwvQ8QWv9oZ+kT+NeRxHaf2lj6VH41SIdSoVC7PWq85voVtL/GOWx/p2vpE/jW/y1b/17X7afxqj7dut3BIovMZNpeH5Zt/69r9tP41r8t2/9e1+2n8apWxUwpv419SHM0AZSRl7ve0HTPp5V3LFuIi5Kzp8hSQO8kGSQT6pUdByq97JRcf5bt/69r9tP415/L1t/aGvpE/jVVZLWf5VW567ax8jefx5wONs2yUKKlkLhEDWDPr6gHbpVPLzRTpFtHiC1/tLP0ifxqVZX7TwJacQsAwSlQMHeDFVJ8AsjnzPqmTkgH1Y7ubu6GZpr9FSIZe/WD7oo1K2T0HisrdZRlCBxFeNOO3TYclaGnJbynujIJObNrqenyjVU8QLyhKRzkn2VdOP8O27abu7CPjltKBUSTAyx3RykAUj4jwOhdqi8euuzb7NKj8UVRmIjZWupApGRNnS0OTDjzxk7r9ys6ynSw4OtblWS3xFsuHZK2lInyk6nyofc8FXLd21auAJLqoQ5qUEbkg84HLekbGepjr8DbV0+vKoW6mHCXs5b7JWdKc5TGoQBJV5QQaNcdcHKw4oBcDiXAqCBBBESCJPUa0eex63+GvHMzkNmpAelUlZaSnLObLvpGXlVqPNMVl1z2qeFbk0/kV3XoNmCqDlBgmDEnYTtNPuHJsUoYS67buZHWVEns0/FqQe0SQBJAVE5pM66aUJu8TQuyfQCyg/CkqS2kJTLQbyJKQdTqBJH76jhXqVDXym6UH1SFaspns7m0+DMFxKe0SstOJA1U0paVdp5pRnTO8kUX7axz/GFgq7V8slGXIlrJ8QHI09aICtRzqKHxLnr3F1sfqINE8Ed7xT1E+2mS6vbRDDhSGF3HYsAyElJelYdKMsAkJKZI0kUrYNov2VGqYrUZvaNLkco1XcPZK2pkEVpLorRdojyhFUjKa9pcHWuVwomuTTJNCopOwKrkKMXA60/ejq1bd7btG0LjJGZIVE5uoquRaHerB9FDmX4RMmOz2E/PpsHyU2w7xEizti3mtm5cJAystHaN80daDX3EFjb9mV2oVncS2IZY9ZSSoE67aGjHGmHOXCmA0gnIpZUToBoiNf42NKfEnCN06GsiJyXCHDr8lKFJMdTKhT6QIy4Zi9i/OW0SITm1aa2mOVEbZdktptzsWUhxJUEqQ2DA0+2B7RS5w3w8+zOdG7eUR1zA/ZXu5wl7srZPZLJQypKoEwrtWzHuBPsqUiB9m4w5S0oCbYqUopSIakqEyANz/8ihnowXKLodHyPqFIWC8MXicQsnFWzoQi6dWtRTolKssE+Bp/9GQ7t1+vP2Cqa5RfoOtZWq3RFAniofmdx+qX9hpS4lH/AOPf5LP326b+Jv5o/wDqlfZS3i4/+yDp2TP326CXr9gzFPZNS7NFEtOqQoKSSFJMgjkRsavfi4dvhjL5JDiSw6lQ0KVEpBKTuDCjVOscPuvXAZZSVFZ0PJI5knkBVucWXzaTZYalUqW6yFgHZpBB18VFIHlNJxqk7O/4nlhmeOWPl8v7gRxTwqq8xJhgvOqQGO0cUtQJCcxEJAAAJI3j7KgM2OHqxJWHfBk5ACgO9ovP2gTm6xG4p4VeJbxjs1QC7aJyTzKHHCR5wZ9lIPG2P3lnfOBCW0gqzNq7FElJHzokmZHWjkkuTHpp5clY0693jmue/wASbw1wCx8Nu7a4BcS2lpbSsxByr7TeOegH/LXBeFYbaoWzCbm+UvKloqXAWpUJSSnQBIOus6Gi3otxF+4u7ty5nteyYSZTl7sulOnLQzVfWF6ljFO0c9VN0sqJ5DtFAk+W9BaSXBphHPkyTjKb91J8Pq6GfivCrPCksIWwm4ccJU4palJASCM2RKTpvpM7azUrE+A7du+s8oJtrlSklBUZSoNrcTB3gx9VFvSxfvsBl1lKFNkFKippC4OhTqoGARPupb4W4kvLu+sU3BlsOrKO4EglLTgMEDWAat7U6F4nnlh82MvR373X7vSiZj2FYVh94lt1txwLQnuAkpQCVDOozKiSNhyTXH0hcKs2ZadtxlQ6SkpkkAgZgRPIifcKg+mFGbEgP8Bv7zlMvpnlNraeDv8A2l1dJ3wZdTkksUPfbclzz+BXbLlSSqlxF0oGpzTijSqdnNV2ESda7s6UJ7X31IbWo86JsY2HWliK0VuoktOONzvkWpM9JykTQth9QOtEm7uRtUTIpWeU390Drc3H0zn+qpTeJ3PO4eP+a5/qrwjKai3CwmiIT/ylcz/OHvpXPxrocSuP6976Vf40HYxEc6LWz6VDSKpK2LceTS8XuE7vvfSr/GnT0UOZmnz/AIo+6KQ8SbBFOvoc/kbj9aPuJo49Q30LBrK3WU4AF8T/AM0uP1S/sNVyxjF4GkNpW0WhlQEqS2YGVpSZnf8AlE+OnlVjcT/zR/8AVK+w1TCm/wCP48h7qVN8hxQcbxm/cbhlSGwof0SGknfLO2mvOlK3wy8aeFyCC4lWfOpQVrlUqTMz3Qfq8Klq0rxeAuDvKVMQDOw9lLfJt0mpeFuPFPrxZnEy751aLi4WiW4ShaShBEqkaJ56z5GiwxvGcuUuJMA95SWSoQSN4iZB5cqRLpC0EpUSfaYNcu1V84+8896Xu5PRR0iyY41ta9OBz4bbxDtXnGrnsy4vK64QheZaJj1kmQJVt+FCLrh99VwtLiklagp1SpGxJ1IGxJI0/vUDDqvnH3nes7VXzjtG526eVTcqGx0uWM3KLStV0HjD8RxS2QWkOpLadAlfZKgb/K1GhGhMaio76sSVcIeW8A4iQhY7KEhUJISmMvygNuYpUYC1qASVT5nQc/ZTPh2HIAiSpR3NU8iXWzm6yUdN9VyfaJ0ucNvbl0LuFha9EFwlvQDMQIQBMEq99TMVtL+6bSLh0u5VaJV2XdVBE/FpHKRrRnCsPQhIJGvjrUx27QnaBS5ahVwchYHJ3IVsJ4HlQU8e780fjTE1wnbCRCv2jpXRrEwCQTUlp+RvSfaGzQtNFLlAl3gxgnRax7q6I4PZHylUS+EV6Vc66VXnsL2eHYGu8IMnZakn2Ghdxwk8knIpKk8jMGmdazvXJN8Zq1qGgXpYvoJ35NebPeQft+yud9bKjUEU+JXNe7iyS4mFAU6GovqIlp0uhVJw81PtLcoo/ieHhs6bUNW/pTW75RjmnF8nhxUjWn70RtZWbjxdB/6E1XheqyfRWZZe/WD7op0HbB3WPFZWVlPKBfFA/NH/ANUr7Kp8pirYxa6DzLjfq50FMnlIiaTP/pPT+XH7H+6uPLxjRy6T/uPjimvQT3Va1GeejanNfBU/04/Y/wB1eVcD/wCMPoz/AKqU/GNJ9f8AuX5c+whK7+ihoaFXdtkMbjkatJXBIOnbJ/Y/3ULxP0dKUM/wpICQVEdkdYBPz6FeK6aTS3L5m/R6zPpn0uPqiuqkWNmp1UJ9pOwqU5hffUArRKiNuhijuCpSmAEk+z65ra3R1s/jGNxrC7b+R3w/Au7CVR1nc0TTapZG816dxIA5RGm9AsWxMkGKzSm5cHMhiuW+fLDDN8OpJqDjOLhEDYnmaD4ddnrP8b1Au1lbve2HtqlC+BraXI1YM2pXreY8RTCXQkUsYTc5UhIHd69KIyTMKBoJVEiuTJhudK6sXOYz4UH7bKNakWjvPlSdw/ZwMCDQ/EklOo3qVbP6aCvTytPjDE8qaqaEW0wXg2JZ+7OooqblSeRNK2JOpYcCkCATrA1/+KbSgONBXOJmqj1oLIlSZyuAHkkTB8QaVcTwp1qSRmT1GtFlXKtp1H2UXt3TllRBBp2PM4ujNm00ZqyvEXYBq0/RQsFh6P6wfdFBb+2ZUkkoHmABR/0YpSG3wkEDtRv+iK6GDIpvg5+XDsQ61lZWVrM4p3oT2as0BJBBzba6a0vKwxCskvNhGVAOVSdcqXAYkRqVAzv7aPYn/JLHZl2UkFA+UDoR7qWnWUJbn8nL3MpB6EBO3XOr6/Z820EXsdNrn4fu0dV5HB8Eh2zhDyQ82kOKBEqBOpkyqJgyNDMa6wa9O4cpxCM7zcpSEqKVQJCwvuxt3U6CoTtgglM4cswMsBYgDNz11OkjzrjbDswqcOcylSTGZRGmqe7HI+HPzroKD6xfP+37O5XtEiazhwbbV2j7RUcomRBhWYgmM0KgiAYjlRVhITbrRnQo5XFQkyADmIA8BMUDcskjMBhs98jeApOZQKvaAD5kUUtMKabZW6hnsVqZUCidhEx0nQa+FI1G2luk73L6v7Mjyzndla3dt8c5rHfV9pog27kRpoY3qLilqoPLM6FR+2szHIRXpt7lwzm6edZCNcXcGBuevXlNQbwnQT4k1q4Uc8jYfwK8ZiR5mrjE7bZIZfS2knpXrAWe1XmUTqduVRbm2GXLOkEk+NeOEsSXnKQkkjnRVUXJAN3JR7jveOpbRA16ztQKxxEKWO9EHYGlzi1t9bnfc7g1A1gE66gb66TUHDXSp0nKkBRGiAQkfojkKnsynj3tlrUbMnlpFhXzgUox0FdMNVBSFHQb/uqAxZqSAqNzWOWiyCqTvtWDobnCxjxDEOyg6ZdNam4bdNPjvet51VfEOJOpWlsKJGY9J0GwnSak8O8UPpUhK21OAjU5QCkyQDpyPj41tjp57d5iyZsal5fqOvFVvkaUtMmOW/vorwjfh+2Hlp4eFK3EvE0NGAddII/Go/oxxGJBOhNA41Heu4SlfuPqEsTzIdKknY/Ud/ZP20Vtb2EUI4kuFIe09U7+3eh93eEIEH+OVDttluXA6Nw42RR30YsFCLgdXQYnbuJ0PSkvCbz4jUwYpx9FrpU3cEmfjR9xNatG3uowa1oeaytVldQ54n3pQ4hSO0CcwiQpMihQwcafnrugP9Inc5tYGggKgRpoKZuLrNsWVyQ2iQ0uO6nofCqMN8lsd4J9wryD8Hnpvchk6/0ofLUq+UWYvB0ySLxxJVEwtOsCPrrknBCFA/D3YmVd8SrSI0MAezlyqqrnGIOyPcKm4WEu6kD3Cj/h+ZLnJ+lFeevq/Mta0sQhYUbtxYHyVOAjYgT5SPdUy/uUdk530+or5Q6Gq0vbNCUbAHyFCbZaE6kA+wUqfg+6anLJdfBIY9QkuEHbtUuL/SP21GDUkio6MUSDrW2L9KlGDXXULdIxLrwCrtrIVAnnND+0mY0jSjOIgKPjQkNQfL66bt29TsY57oo6tO5iEnyFHfR7Yp+NJiSoiPKl3JKvKmLgtwZlzoZmqfCYb5JWMWYC4UmUmveC4IjtM+X+NKM36kqGmp5Vu3SluAowf31n6cJ8GmM3JW1yE02oIAivKLRIJEVjmIJSBpW2rhKhJ0pb2lreLmO8OsqVnUhKh0I59fbUfDcLQgw2kSTyH203ONhSeorVnbhOoFNTbVXwLlJLmuRL4xwnKySR/wCaC+j5uI/SP203ccX4DRG5OgpV4LSRm67+802X+k0Jx/z2w5xC7JUN94pZZWTAPP7edFeIWldpIOlQMJtVvK0Hj7akeI2E3yFXrrs2gOcRT96F3MzFz+uH3E1WGLMrCoIMCrM9CKSGLmf64f8ApprTpYpM5epk5ZOSyaytVlbxIH4wP5jc/qV/Ya+drq2OqjqK+ieMEzY3I/wV/YapLA0dsvsjAUZAnrBIHtiPbXP1dqaaBtKabVoA4VhTby15jAbaW6rSTlREgCRr3h9Z5U14dgCk+qAnMYGcwqBJJUNYA115eE1EVwg9n7Rp0J2hSSoHvFIBBGpT3xJ5AGa94La3HwhTPwgqUG0OKOdYCVOlsQcw75yuCY676RVODlHkqcrbaVImO8PvuJ3TH6XPKFgbbwQfbQy54TdSpCUkKWpC1KE6AoWUEA8zAk+RpkbwxxYVldUVIcQj1lAZVSNt9CR5CaktYUtcKU7PdJAKlA5YGmoOX1hKfOlKKroAI73Cd0eSNwn1wO8dQnX5UezxrseD3kZChSVBSApSpgJVBUqTGiRGhO+vSmvFOG3FTlfKdIIzr0SM0bRm9Q6CgGI4Y+wUKXcrWSTqla9CEpJ3PzXB9dMTglyi0Rb+w7N3syqYS2Z03WhCztoQM0T4V7VhUgGtuMj1iSTpqSTsIG/gAK6sXnyaqck1waIZXF2gViNipI3AHhv765YM8UuAakExvRHGViKBIuTOhgeH7zzoUrVHRjO+WWgWUpQFdB9dLGLYwWzMSkmPI9T4V7t8UWllKlJVkOgWZg+VAsVfCkrG8jTXnuKT5dzVrg0bmoNrqN2HBL6M3bJBPhI8Km3rXYtZirOB80c+Xs8apJu+dbJAWpEnkYpv4W4ifWVB9eZCU5Uzz6D6pmtuXT49r4MmPUTckrLIwy4JgZQOoqVcNFKc6OVBsEuZgnepuM4sENqA3rnYo9zXmlzwJXGN6VuBMbfbUHDVlkhXzhB89x++vPaZlEk5gTsd/fRa0QOY08ae1SoXF+pFL67heQDQ6T4czTlhdqhlOVA8z1oRZtJCpA1os2ukZH2GwXJ0vbRDg1FMfousi03cDkXQR5ZRS8V04cCnuOfpD7BTtFN+akI1uKOzd6jPW6ysrsnJBHFqosrk9Gl/YaoZF82lRXExG3uq+eLVAWVwTsGlz5Qaop64RBKEDNy08RXP1f8AOgdrnJRXqTvyu2UpMHXlG01qyU2SrIdViDpoROaPekH2VLwdsLCu2hENqUDodQBHn5UaVgqJVlcTkKe6ecwvodSMsx/eApC5VpfMCcNraF59KgNEyKghJnQEGm+2wcAwX0HXaBtJG4V0B+qtowdsBJKwfXnp6hUhW+iARE8yRSp45yVJAJMV3HVklSzJJknxqPcJhOlOD+AtKTGeV5iOYHyYkTMCTqN5FAbvDUtJEvBQzhBOQiAflCT3089OVFDFJJMKmBO20iaLWVunSN66v8OCCe1TInRImSnPKUd7vK7m2miga1+T+xWlPaBzuySkQBqQBM67UcoyXLLi3uBOOJk0Iw+2StwIUlxSSRPZxI85BEe6jOKjWoWEYsbZwqAzAggjwpuNq+TsJDLc2KktFCgVMNgqA1kIiQJjec3speTaWsArcUlO53OkaDQU/YfelaUKWSFZBKNCSDsAdiddj1NLmN41Z2rmRi1JWJzBYEA+Egx7NK0ZotVOP4B5Mjik0L9zZMFIS00VFRlKlQNCNSY1gdDUl7hgssocSuVE5VIPKQSCPDQe+oqLxdw4VIaGePVRsEiTEfxsKgrxlSiU693TU6aaRrSVknJNNf8AQhZot3IODFOwbk79Bz9tBLrEi8s5iSOXl+I/eKgPPKXqTXjnpVQxqKClkcg/Zr9/P8aKWgnegNm7qKNWr3KlTQcWHLdupWaoFos1KWqBWWRpgSc1Ovo+VLbv6Y+6KQc9Pfo6Pxb36Y+6KZol9MgNa/oWN1brKyu4cUCcapmwuh1ZX901UPDtg32iQ6QEEKknl3FZT74q4uLUzZXAmJaXr00NfPq7R8OhKSXFKnLlO4AJP1A1i1F71QEh0fw62JT8dskpUAUkAhJ7x1Bkk6EaabVCusLt0IzNPqWZIynJpCokxBggEiNtJ3oZw+24qSptY80KE89JGulTr7C3BqEL15ZVfhWaTaVOIBMbwq2KsvwgyVEADIdlQDt8oagcp1mK6nC7UKAU+oSAd2+ZHMb6HMDEEdCKXmcJXmO6TvrIM/uNevyYsElRk9SZNJc4vhrkKMW1whotbC2SFK+EASiEkqEgqTrsAQoHTyNcV4FZqUD22VJCPVKe6SAFEzvqOXzqUbhwgwa18Mg+FN4S4QL46ok4qlDa8rZKkwkgmOaUkjTTQkj2VNwwiNIoWS25pOtS8LtFIKpOnKghNSdDMKuSOOKKgnWoeCWqHHxOoT3iNDOo0M8q7Ym0TNA2Lt1hfaIgEcjrI6EVoxVutnXtR6lnrShKwAT3QCfCeQ9nKvGMoGVbrae0WVBAASnMs7ak9NTr0qFgN806yHCtHaKHfQDqD0jf20B4hdcN4y208UgpzLCT6vU6fKKQPcOtbpxjJU+heVxaruFOFMOet7vO80AHNBlIVHODGxj7KC8WcMvNuOvJbHYlZUCkglKSZgjdImfCKZ8PxvVSQrMWwJnUidgT1oilz4UmFLcbkHRKsuYc9xrpyoI4Ip8AvSRrgp9w1jVF+MMGTaFBQvO24DlncFMSDHmKAW7Tjh7iSaFwrqZ2nF7WF7RImjts0dCmgFvYOgaiIO1HbRgiNxWXI0Ogg5bExrXd06VCabI51ObEiDWKSNUDx2oin30aKlp79MfdFV26mKsD0Xn4p79YPuin6NfSoVq39Ex1rK3WV2TkAPjdUYfdnows/wDSaoLDWrl99Cbae2yqywUgxBCvX09UmvoHi8j4FcyJHYrkew1WXAGT8oNQACEObdMhrLlX0iBfUUsKxTE7guBtxa+xSVrILSSEDTMSQMwEcp67610wbim4kpLqgCJBhO/I+ruOR5UzcFPW6hf9jblpXwNwlRfU5I10gpGXWt4Hw8ypeGyygpXZKcc09ZwJ0UfGY99XKDa4ZKIDra8qHFuBZdzH1gVd2BKgNuVC7wqOyiDTDh1uwljD3HgEhwXHaLCZ1To2VDmlJMxU28w9LDN08pLDy222ezKU9woc07XKDAJg+AiseTSybTTJFyi7QtX+COMqKFLbKkMC4UVKiUnYJkaq8KWbpxU1ZnFFo247dqW0lRawxLrYInK4kKykTzFR8ctLO3QlpSc3aWaVoUluVF5UnP2k7aRliAPOtMsSq0Fkbnyyr1OE7b08YMhQt0ZtVESaOLwC0Xe2lsLZCUrbbecWCQVdxZyQNgpQBJmTEUYwNhlx1pBaMpU6F/FhCcoCikQCdUxE1UsQzA9rsT3LWh17hQWDIp6eazWrDhaShxTikwkESnKVJ3Jk7a14fwhSU5in2c6zOEk+DpxyRa5KRxS3Layk7jY1Fs8TW0sKSe8OZ1p243w8FOaNQftoHgfCpWQt8EJ3Cevn0HhWvHljstmTJjk5VEKcGYijItJJzLcCjpvOnLxEmji1KDylhxSkkABPIbbc+uvjXa1s0ITlQgJHgBt7KkItwRHtFKlqG+hqxxcYpP0I1xaIeylaAY0EiY6717TaBI0SB5VMS3lVlO52PurCkDf+OlZ5Sk+rDtN2wdlExFexbhUAfvrvcIMgj31z1HgeVDTZVo7sMkDXX91S0N0OF3B5zU22us21A4hKRBxAa0++ir+Rf/WD7opJxVE604+iNcs3Hg6PuJrRpI+/YjVP3B+rK1WV1TmEHHWkqt3UrEpKFAjqCNqrIYG22e0YQtt4CAEOALAMA8+lWjih+Jc/RP8AGtVvhlwHHLhSYktKKISe4tPNQIOvsImglRaQvHgh9kLVa3TiC4nKsEASDulU6xqalYDgd8w0llV4rKmciEpchIO4zDzPlTSLhFwblQzENsoyJyAEuCe0cS2sCeUFXME7RXoYigM3LyGyOzaSpKHCPWB1PcJypJ3A8ap0QSF2N6hYbbUfi8wbOaQkK0UQIOhkTpzqZheAXZeym5KHXhClQohSQNiYy8tBy8Kbra6KWrd9SFqzh1S0pbTJKj3UyoyAkHQDeBU6wdPaWnd0Wha1aAwvTQq+SBroKB40/UjRXLuGXBUVm4cXmT2azJJLInukRMammqzskoaCFLWW0jRMqiDy01jw2rrgyWQ6ylWUqcJ9aQSOY0EKHgakIC3Wk5EISv4UUJlIAKMqyBpqoaDU0SRGcMqSoKEkmAFEmQBtE7AeFFLVjvHMtZURvnVIB3iDptqd6hXjuVppR1V2jiCrIEZgmYOUcpGhihl1j4kRukQojodj7Kq6fIUeyGS8tkwI3QO4CowCNjExPKd6C3/EQRotBB2I8fPnNV/i3FV2FqQHIIVpoNU8qLYPfruxkWASIBXGnsoHPsOUa6k915LjudIEAa+fSvbkHlXtOH5AQkEid/trohHUfxyrBO3I3wpROHwWJIHLWo8xEaj+AKKIVAg+ygl08AdNuX8eypRTZmJv6g9CK321Abi4U4ZTrv8AvrvardKZKFdIAJo1GxblRNff5fxFR3XCBry+yscw50ZSpTYTMElYkeBHWt3bLOU5LhByzIMzpO0Dw2pixMX5qIlw8PbUzDcw1KT7jUS3tFdmp1IzgeqoiNOsTpB60as3VLbTCu/48/JXLlTFpty5AeoSfB4xO4hG42pp9C72dm6P+MPuJoY3ZpdQrOBqADPL2zI9lMnoxw0MIuEhGUF0H1ioHuJEidhpTcWDy+ReXPvVDrWVusrQZwdxAqLZ49G1fZSBbpSELcQlbS1QlKmjqRKSqBI3AKeusinniwfmVxrHxS9fYar3hpzOy73krW00txiADC4IkDZREnlSpySdMu6ONxfvPPtrBU0ltvIpxZhahJUo6E+AAMned654i2ly2S60+4UvuFlWZU5sgMlZB1EAiNR4UeYQ2FtqUlKnfgDziwQNcpRkUqNirva+BrLFjt7ZgnIl5TjzraAnuF3szCSJ21mOcUNWiN2LdrePJSEKeXpqpLaiEqT5mCOkCpTlypKQg57eTmSkKcSNRqRBABozgrakDI6CoOWy3QC2nQo3K1gDvlRPdGwHKub7q1M3IuO+Aw3cIAbSEthWgSF7qVAJPLXegcMjj1KdgVm6UjTvD+8lRn3zIPjRQErZStBclEwMyozayo66q1Ou9EXjlevUhLYbbYQpKQhIIXkSrNMTrmI6aVtYAJSVesOXSaHHilG7ZSVCribzgTqtwgSo5lLMqjmCarTFeInAtYEpmAY5xV+uNgbyT9oqseKeCWj2zjD5SucwbKdNtUydQZmCdNaYkl1ZadCdhmNrcWlskQTEka6+NXHgtklDYSmBpvVW4BwbJS445lIM5UxI8zT62tSAAHNB4UDyQT4L81erHBBSEkDYbeVLT1ycxgwAf4ioZxJxMwoHSgP5bAGVzuKGkEiTvBgdaTllGa4NGDNFdWNd+8CQkESr1fdS49hzmUledOXQBABmTqT4ePLnXCyWp95ClNmEgwsLUIn+6N9h76ccLuys5VpAGWAsb7Qddpq8cVup9gp5r6C/w2gIbDbSUqUTJQ65ClDcxAiYIgeNccXv3GVr7MGCNArMFI19UgRJ00IMaUdxTAhlJS0CQcwcSVCANjodFCDsK82L6HWkpeSmCJBUQJjUHva/+TWnaI3MDO4Iu5WQnKk5EqCwtRGfmmdYMa+6uFxwotsQHMq8pSqQBKeQSY+umG0Z7JCsighS1TkB7p2hUHll5zUziBqUBRMEj2HSiUQWLnBdv8U4hRnTaQY8SPZ9VT8PaKUKzp7qVRIifdQDhu6U1cFSRKCooWI8hPsIFMrpKHCE7LVlJ6H2+Yo48FM5YoY7wJCVxE6dN5Jinn0eoht3We+Jjaco2pF4oICEyZMwNtPnRTr6Nv5J0SCM6Y5/JG550TfNAjjWVlZULAPHaScOuwNyw4P+k1Qlu5lS12KzJJ76SUERoJgzO+0V9AcXDNZXKQQCWVjXxSelfPt9iKEKDWWUogBKEnvuKgwJ8x7zSpJzltRG6fIVs+JmiF27jikunRSz2mcnoV7q05E1EcuVMq0ccISZTClAJ3ByiYB13GtMWG+jtBIfOj8ZsknLmI0BncjrtSxiC1KXC0EHNlI8dtqwedGU/dvjj/AyUNsrJ9heuGD2rsd4z2rmmaZgBXdJnUjeg+L4ysKyIddCcuWQ67ok7o9b1dpTtRmytABtlPnvUHG8HChmCkp+fz06iOdFDNT5Ym3fQU3MSuM5yuvKUsZT33FFQ5A6yoDoZFWBw5xHcJSErEdSpJnz71JSMOBzBoLUds3qmJ5Ucw0ONaKUoACSCfxp8slrgKmPt1iZ3KielB8NcLr3eJgzM7Hw19lK15xN2fdUnQ7FO49mx+quVlj5StBWArfItOgIPLXY+BEikLFNytvgBY5WGxhBQpYt/wCUSoyFEpJ5gGOWv1Cgi8VuDmStSRl1OgMdee0c6Y8UxhpwFQRDhTlz6CY9U+7TUVBsbAFtztClsaakElWklQA3EdPCtElGXFDHBv0Axxl9c9klJAGq418wJ0Hvr3hNk4t5JcVOZQ1UdyIVkE7aCZiNKmW7OTMGltkczmymN9ELHTzmuRaSoyeWxjTpyge2rjCMOhaxteg8XDjaSEqV2faKCRqN+sj7aKrbS0NFpI8xqOtAeEb5KnwUIyrSy9CgrMJDZ29se+huM8Y4g2SRcqSA0VEZW/WCgABKPH7KJ02u4Wxse04g0VdmVnNBBSDpl2npH4igOL4GlWiXAka5STseoG1V7/xHxWf50Y65G/8ATWI9I2K87lX7Df8Apo3XqWoSLINoISM+YJRoBr9fOueD4t2wU08FJymAVDSNhBG3PQ0Os+JXF2Vm/cLzurL6STlBIDuUbQNBFFUIaVlebMEgpVp11kjrp9dT1Bp9iGUMMLVkKT3wVAqCTGhMTzjWpq37d85mn4IVKgqAeW0/aJpG9IbCASpJBJjNA1J8eW0e6k04gpSQkNz0hJJ+rc1aYO19i7sTwjMhYQAsKMwQDGgnTnrTH6MLDsWnk5CmVpJEk65QNJ22qrOEOLrhpkt3DRUgJhCjIUOk6EqSJ6e+rc9H7iSytXbBxSlAqIIAHdEADcADrUUot8FUxsrK59qnqPfWUZdM+WHbxYBJWuACT3j+NeuBWu1fC194JJJTPyjoD7BOtQ70fFrjeKitl2wfQpJBOih49QfspejinFtnc/8Aop1ljBccWfQ+EX4QkJ3IOmbeKq+9Qk31znZceGdRhskFMqBJ08DHtp/w54OJQsaZkg+RI1FI7T7hvLpTDYc11BUR6q0REEScwGlTVY4xSpCPBm7yN9vs9e4PN1Yj+juCefxiRGp08aDrOZRCMxGpAmTlEnWOg3p1zXq1IUbZCT2fZ/N2KFSYOgJgEbGSIrHcUvUgk2iQCcven5QSjWVd4ypIk7TFYtn/AKjvQzKP8qTfxkhGCvGiFqQFM5my4DugEgq1IiRrNEcVw66uXS78HykwCEwANBG53iN6jYW2521uG4DmoGbacypB8N6HbTNcp45wvi6556cd0T3nLYKyHD3AswkAur9ZXqxpqTIpffZOdWRtSRmMJIJI8DpuBTi85eJYTLLbaGYcSc8gpbU3lSkZjOqd9SdYIqYh6/VHxTR1IkKPdlISCVBfeMKJ5nfpTHG/8GDHnWNWkvvkV+3brUYCVE+R6T9mtdG7B1WWG1GZy6HloYp6TeYkD/INb6ElO+bLHeXr3jAHLYVu0XfMqSjsmlILijIXvmUSrmYhSuk1Wz7Rr1rXRR/ErwzOu9ampmK2bjThDicqj3okHRWo1FQ6Wzpw2yimqG7gRAF7AgTauE+ZbE8zXTG7VpaEjOjeF66lMyPCNtvmivPA4/Pev5qv/wBMda48VOJbZVlEHQHRGxInbUU/GrSPKeKPbn+5EHjW2swUm1UjVIKspJ56bnz0HSllbicsEAGND46VvhyxDr7ja3OzbgrJ05bbnnU67w5tLnd74gjlyy666ayfdTJQpnPhl4DLaUGxw4LCiibqQj1j8aYj2xWE2SZBNyDO3dEeEfxtU1hws2+GqQgqKTckIB1PfMwQNOZ9lSfym/ImxzQggZhmKgmNVkplWmUHYnwpU+p3dJJ+THjv6per7iziq2JT2HaRHezxvpER7ahajwNOycVehQFimAqFd0aEhAgnLpp5aKr0/izy835gMys0KKQTJlOvd1IUoAbe2aDau5ujqXFVsX3yQj5j1r0h1Q2UR5E09N3riVZF4eNCMxSEk93WB3YjUAdJOppMxS47R1a8gRmPqjloB0GvPbnQuNGjBm82TTil96Zx+EL+er9o1lc6yqtmrZHsYK5cRpzvtAayI95q63vRHb5TldWFQcpOoB5SOlK9j6LrltxKn09rlkJLakiN4JC1bCujpovHaZ4nxnV4dVKM8d2rQ38P2OZhKkx3Rr7BVYYA2px10pe7JRIIPIqLiInwBIM+FWZb8JX7bZQ0+0gK6hSiAd9NAdKGH0PdLqP8v/dU1Kc2qA8M1WPBCan616X0AblrcpKB8MzLWsIJSmQAUA5pMZvU0PMCfCtqwh9xJ7S70UoDaCU5UrJy7kylI80mjJ9DiuV2Pov99clehtzWL1P0J/8AcrP5cu3zN/t+D0l+hAm+tblAWfhqSNVjnmPfXvt8g6jmYpYt5UtiXOzKifjOhKla6RpPjVgo9Diud2D/AJX++vavQ8f7X/8Ar/3UMsU36DsXimngmm3+VIWThaykD4emIUCMwjeFR39hEn6prTNq6tTn5+e4oJkkd/TN3ZWJ1AA6npR5foZdnS9QB+oP/uV6R6GnOd4k/wCSR/3Kvy5dvmB/EcH1n+VAn8mykfn5+SEgqT3VQFGRm1AIT029tdH8GcTly4gUpXBGYjcTJ0XrChrG086IL9DLvK9QP8gn/uVivQ26QPz5Og/qD1nT4zSi8uXb5ge34frv8qAzvDSHQlTl6lSyjcqTEz3flTkj2nwoHjGCoYRmD6XDmAKQBse0AM5j8zX9IU8p9Da+d4n6E/669f8ABs/2sfRf76B4pdh+LxbHB8zbXbagB6PklWIIA3NsoD6MUY4gwNxAMlIWVAoSYKSARIVoDrsIo5wr6PV2N0h9VyHAEqTl7PLumBqVHpRrEsKU8tSlEaaN5Vgac58Z+wU2GOSj8Tla7VQzZt0bqkiombK37RegSSn5syOakyJMHpBrVlhKu0KB3tM0jQEeJ5HWpl36P8RdfUsgJSDKPjUctudH2eGL0EEtomACe0bOonUa6T0qPHKzN5kWgXi1ipIw5CVZVAvqChrBCs4332qSixuwohd2gCFKScqVEkKkFUDQgwQdY5UfvOBnLxthK3AypoOSAM05lAjVKtNKhK9ETk/z3u9OzMwfHP8AuqpY5XwjoYNZijijGT5X9KfqCmMNvG0ufHMhanVOEgAlRJAVJy91PcB284rV/aXwzE3LRShSjJAB7pKySnJPydufiKNN+iMx3rsnfZBG/wDzVo+iJWv52df7h6Rr3tap45dvmN9uw3d/pX/ImY1jV4w52a3QYCVDKExBhQjujYgUtOuFRKlEknckyfeatF30OLJn4YPa0T//AHU3D/RA0kHtn1LM6FKcunlJmlvDNm7D4vpMa4Tv4Ip+sq6v+Elr89z31lT2eY7+Pab4/gWJWVlZW48aardZWVCGVlZWVCGVlZWVCGVqt1lQhlZWVlQhlZWVlQhpQrx2Q6D3CsrKhDOyT0HuFZ2Seg9wrKyoQ9JSBsIrdbrKhDKysrKhDKysrKhDKysrKhD/2Q=="/>
          <p:cNvSpPr>
            <a:spLocks noChangeAspect="1" noChangeArrowheads="1"/>
          </p:cNvSpPr>
          <p:nvPr/>
        </p:nvSpPr>
        <p:spPr bwMode="auto">
          <a:xfrm>
            <a:off x="460375" y="-1371600"/>
            <a:ext cx="2628900" cy="350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180261" y="2481935"/>
            <a:ext cx="4536504" cy="954107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fr-BE" sz="2800" b="1" dirty="0" smtClean="0"/>
              <a:t>346.736 </a:t>
            </a:r>
          </a:p>
          <a:p>
            <a:pPr algn="ctr"/>
            <a:r>
              <a:rPr lang="fr-BE" sz="2800" b="1" dirty="0" smtClean="0"/>
              <a:t>repas/</a:t>
            </a:r>
            <a:r>
              <a:rPr lang="fr-BE" sz="2800" b="1" dirty="0" err="1" smtClean="0"/>
              <a:t>maaltijden</a:t>
            </a:r>
            <a:endParaRPr lang="fr-BE" sz="2200" b="1" dirty="0" smtClean="0"/>
          </a:p>
        </p:txBody>
      </p:sp>
      <p:pic>
        <p:nvPicPr>
          <p:cNvPr id="133121" name="Picture 1" descr="S:\Petcare\Promotions\Promotions Info\2014\P07 Animals 4 Animals\NSM\SO Elements\gamell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2944" y="2302153"/>
            <a:ext cx="1214632" cy="1037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/>
          <p:cNvCxnSpPr/>
          <p:nvPr/>
        </p:nvCxnSpPr>
        <p:spPr>
          <a:xfrm flipH="1">
            <a:off x="5264236" y="3325650"/>
            <a:ext cx="871910" cy="640546"/>
          </a:xfrm>
          <a:prstGeom prst="straightConnector1">
            <a:avLst/>
          </a:prstGeom>
          <a:ln>
            <a:solidFill>
              <a:srgbClr val="A8007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6450534" y="3324414"/>
            <a:ext cx="963122" cy="641782"/>
          </a:xfrm>
          <a:prstGeom prst="straightConnector1">
            <a:avLst/>
          </a:prstGeom>
          <a:ln>
            <a:solidFill>
              <a:srgbClr val="A8007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5911217" y="1791705"/>
            <a:ext cx="1661924" cy="64633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fr-BE" sz="3600" b="1" dirty="0" smtClean="0"/>
              <a:t>2013</a:t>
            </a:r>
            <a:endParaRPr lang="fr-BE" sz="2800" b="1" dirty="0" smtClean="0"/>
          </a:p>
        </p:txBody>
      </p:sp>
      <p:pic>
        <p:nvPicPr>
          <p:cNvPr id="17" name="Picture 20" descr="http://www.revocom.net/wp-content/uploads/2013/05/facebook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21999" y="4477777"/>
            <a:ext cx="1696542" cy="1730587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6695955" y="3973722"/>
            <a:ext cx="1926244" cy="523220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fr-BE" sz="2800" b="1" dirty="0" smtClean="0"/>
              <a:t>22.336 </a:t>
            </a:r>
            <a:endParaRPr lang="fr-BE" sz="2200" b="1" dirty="0" smtClean="0"/>
          </a:p>
        </p:txBody>
      </p:sp>
      <p:pic>
        <p:nvPicPr>
          <p:cNvPr id="133123" name="Picture 3" descr="http://static.guim.co.uk/sys-images/MONEY/Pix/pictures/2013/1/15/1358268404359/A-supermarket-trolley-ful-008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4545491" y="4727452"/>
            <a:ext cx="1573758" cy="14065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/>
          <p:cNvSpPr txBox="1"/>
          <p:nvPr/>
        </p:nvSpPr>
        <p:spPr>
          <a:xfrm>
            <a:off x="4224857" y="4042809"/>
            <a:ext cx="1926244" cy="523220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fr-BE" sz="2800" b="1" dirty="0" smtClean="0"/>
              <a:t>324.400 </a:t>
            </a:r>
            <a:endParaRPr lang="fr-BE" sz="2200" b="1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154203" y="2438036"/>
            <a:ext cx="3537973" cy="954107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fr-BE" sz="2800" b="1" dirty="0" smtClean="0"/>
              <a:t>150.000 </a:t>
            </a:r>
          </a:p>
          <a:p>
            <a:pPr algn="ctr"/>
            <a:r>
              <a:rPr lang="fr-BE" sz="2800" b="1" dirty="0" smtClean="0"/>
              <a:t>repas/</a:t>
            </a:r>
            <a:r>
              <a:rPr lang="fr-BE" sz="2800" b="1" dirty="0" err="1" smtClean="0"/>
              <a:t>maaltijden</a:t>
            </a:r>
            <a:endParaRPr lang="fr-BE" sz="2200" b="1" dirty="0" smtClean="0"/>
          </a:p>
        </p:txBody>
      </p:sp>
      <p:sp>
        <p:nvSpPr>
          <p:cNvPr id="19" name="TextBox 18"/>
          <p:cNvSpPr txBox="1"/>
          <p:nvPr/>
        </p:nvSpPr>
        <p:spPr>
          <a:xfrm>
            <a:off x="1393485" y="1871855"/>
            <a:ext cx="1661924" cy="64633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fr-BE" sz="3600" b="1" dirty="0" smtClean="0"/>
              <a:t>2007</a:t>
            </a:r>
            <a:endParaRPr lang="fr-BE" sz="2800" b="1" dirty="0" smtClean="0"/>
          </a:p>
        </p:txBody>
      </p:sp>
      <p:pic>
        <p:nvPicPr>
          <p:cNvPr id="20" name="Picture 3" descr="http://static.guim.co.uk/sys-images/MONEY/Pix/pictures/2013/1/15/1358268404359/A-supermarket-trolley-ful-008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1263678" y="3924085"/>
            <a:ext cx="1573758" cy="14065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/>
          <p:cNvCxnSpPr/>
          <p:nvPr/>
        </p:nvCxnSpPr>
        <p:spPr>
          <a:xfrm>
            <a:off x="2934520" y="2195020"/>
            <a:ext cx="2491481" cy="0"/>
          </a:xfrm>
          <a:prstGeom prst="straightConnector1">
            <a:avLst/>
          </a:prstGeom>
          <a:ln w="57150">
            <a:solidFill>
              <a:srgbClr val="A8007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0836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8" grpId="0"/>
      <p:bldP spid="36" grpId="0"/>
      <p:bldP spid="1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0" y="0"/>
            <a:ext cx="4864894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 flipH="1">
            <a:off x="4864894" y="-8407"/>
            <a:ext cx="4864894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7" r="86516" b="95736"/>
          <a:stretch/>
        </p:blipFill>
        <p:spPr bwMode="auto">
          <a:xfrm>
            <a:off x="5440958" y="153781"/>
            <a:ext cx="3456384" cy="685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7" r="86516" b="95736"/>
          <a:stretch/>
        </p:blipFill>
        <p:spPr bwMode="auto">
          <a:xfrm>
            <a:off x="5800998" y="7092457"/>
            <a:ext cx="3456384" cy="3429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7" r="86516" b="95736"/>
          <a:stretch/>
        </p:blipFill>
        <p:spPr bwMode="auto">
          <a:xfrm>
            <a:off x="7812723" y="5954142"/>
            <a:ext cx="1912566" cy="1481238"/>
          </a:xfrm>
          <a:prstGeom prst="ellipse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3" descr="S:\Petcare\Promotions\Promotions Info\2014\P07 Animals 4 Animals\NSM\SO Elements\ap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6902" y="155203"/>
            <a:ext cx="4340229" cy="614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8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3462" y="1098935"/>
            <a:ext cx="3806764" cy="54976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0" descr="http://www.revocom.net/wp-content/uploads/2013/05/facebook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92486" y="873250"/>
            <a:ext cx="1584176" cy="1615968"/>
          </a:xfrm>
          <a:prstGeom prst="rect">
            <a:avLst/>
          </a:prstGeom>
          <a:noFill/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21120357">
            <a:off x="1030904" y="3506177"/>
            <a:ext cx="2213427" cy="1973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7" cstate="print"/>
          <a:srcRect r="123" b="384"/>
          <a:stretch>
            <a:fillRect/>
          </a:stretch>
        </p:blipFill>
        <p:spPr bwMode="auto">
          <a:xfrm>
            <a:off x="721154" y="2622845"/>
            <a:ext cx="2526840" cy="3866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614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0" y="0"/>
            <a:ext cx="4864894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 flipH="1">
            <a:off x="4864894" y="-8407"/>
            <a:ext cx="4864894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7" r="86516" b="95736"/>
          <a:stretch/>
        </p:blipFill>
        <p:spPr bwMode="auto">
          <a:xfrm>
            <a:off x="5440958" y="153781"/>
            <a:ext cx="3456384" cy="685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7" r="86516" b="95736"/>
          <a:stretch/>
        </p:blipFill>
        <p:spPr bwMode="auto">
          <a:xfrm>
            <a:off x="5800998" y="7092457"/>
            <a:ext cx="3456384" cy="3429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7" r="86516" b="95736"/>
          <a:stretch/>
        </p:blipFill>
        <p:spPr bwMode="auto">
          <a:xfrm>
            <a:off x="7812723" y="5954142"/>
            <a:ext cx="1912566" cy="1481238"/>
          </a:xfrm>
          <a:prstGeom prst="ellipse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3" descr="S:\Petcare\Promotions\Promotions Info\2014\P07 Animals 4 Animals\NSM\SO Elements\ap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6902" y="155203"/>
            <a:ext cx="4340229" cy="614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275" y="1201614"/>
            <a:ext cx="3086337" cy="34002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4814" y="1011539"/>
            <a:ext cx="4104456" cy="27405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1374" y="3887514"/>
            <a:ext cx="1993153" cy="32187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2262" y="3877998"/>
            <a:ext cx="3507024" cy="22970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5094" y="1647062"/>
            <a:ext cx="2501808" cy="37148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7704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522"/>
            <a:ext cx="9729788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https://www.petprofi.de/PAF/design/mars_online/pics/landing/aBetterWorldForPet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0678" y="1181897"/>
            <a:ext cx="3888432" cy="4520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ounded Rectangle 5"/>
          <p:cNvSpPr/>
          <p:nvPr/>
        </p:nvSpPr>
        <p:spPr>
          <a:xfrm>
            <a:off x="616422" y="3289846"/>
            <a:ext cx="2160240" cy="1090040"/>
          </a:xfrm>
          <a:prstGeom prst="roundRect">
            <a:avLst/>
          </a:prstGeom>
          <a:noFill/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rgbClr val="A8007C"/>
                </a:solidFill>
              </a:rPr>
              <a:t>HEALTHCARE &amp; NUTRIT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953126" y="3289846"/>
            <a:ext cx="2232248" cy="1090040"/>
          </a:xfrm>
          <a:prstGeom prst="roundRect">
            <a:avLst/>
          </a:prstGeom>
          <a:noFill/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rgbClr val="A8007C"/>
                </a:solidFill>
              </a:rPr>
              <a:t>LOVING, SAFE, HAPPY </a:t>
            </a:r>
          </a:p>
          <a:p>
            <a:pPr algn="ctr"/>
            <a:r>
              <a:rPr lang="nl-BE" sz="2400" b="1" dirty="0" smtClean="0">
                <a:solidFill>
                  <a:srgbClr val="A8007C"/>
                </a:solidFill>
              </a:rPr>
              <a:t>HOMES</a:t>
            </a:r>
            <a:endParaRPr lang="en-US" sz="2400" b="1" dirty="0">
              <a:solidFill>
                <a:srgbClr val="A8007C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3424734" y="5810126"/>
            <a:ext cx="2232248" cy="1090040"/>
          </a:xfrm>
          <a:prstGeom prst="roundRect">
            <a:avLst/>
          </a:prstGeom>
          <a:noFill/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rgbClr val="A8007C"/>
                </a:solidFill>
              </a:rPr>
              <a:t>TRAINING &amp; SOCIALISATION</a:t>
            </a:r>
          </a:p>
        </p:txBody>
      </p:sp>
    </p:spTree>
    <p:extLst>
      <p:ext uri="{BB962C8B-B14F-4D97-AF65-F5344CB8AC3E}">
        <p14:creationId xmlns:p14="http://schemas.microsoft.com/office/powerpoint/2010/main" val="3036295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40558" y="625550"/>
            <a:ext cx="6336704" cy="193899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nl-BE" sz="6000" b="1" dirty="0" smtClean="0">
                <a:solidFill>
                  <a:srgbClr val="FFC000"/>
                </a:solidFill>
                <a:latin typeface="Marsfont" panose="02000000000000000000" pitchFamily="2" charset="0"/>
              </a:rPr>
              <a:t>DOEL - </a:t>
            </a:r>
            <a:r>
              <a:rPr lang="nl-BE" sz="6000" b="1" dirty="0" smtClean="0">
                <a:solidFill>
                  <a:srgbClr val="A8007C"/>
                </a:solidFill>
                <a:latin typeface="Marsfont" panose="02000000000000000000" pitchFamily="2" charset="0"/>
              </a:rPr>
              <a:t>OBJECTIF</a:t>
            </a:r>
            <a:r>
              <a:rPr lang="nl-BE" sz="6000" b="1" dirty="0" smtClean="0">
                <a:solidFill>
                  <a:prstClr val="black"/>
                </a:solidFill>
                <a:latin typeface="Marsfont" panose="02000000000000000000" pitchFamily="2" charset="0"/>
              </a:rPr>
              <a:t> </a:t>
            </a:r>
          </a:p>
          <a:p>
            <a:pPr algn="ctr"/>
            <a:endParaRPr lang="nl-BE" sz="6000" b="1" dirty="0" smtClean="0">
              <a:solidFill>
                <a:prstClr val="black"/>
              </a:solidFill>
              <a:latin typeface="Marsfont" panose="02000000000000000000" pitchFamily="2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"/>
          <a:stretch/>
        </p:blipFill>
        <p:spPr bwMode="auto">
          <a:xfrm>
            <a:off x="1611188" y="1921694"/>
            <a:ext cx="6264696" cy="24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ounded Rectangle 2"/>
          <p:cNvSpPr/>
          <p:nvPr/>
        </p:nvSpPr>
        <p:spPr>
          <a:xfrm>
            <a:off x="1612042" y="4535686"/>
            <a:ext cx="2012398" cy="1809438"/>
          </a:xfrm>
          <a:prstGeom prst="roundRect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nl-BE" sz="1600" b="1" dirty="0" smtClean="0">
                <a:solidFill>
                  <a:schemeClr val="tx1"/>
                </a:solidFill>
              </a:rPr>
              <a:t>Sensibilisering</a:t>
            </a:r>
          </a:p>
          <a:p>
            <a:pPr algn="ctr"/>
            <a:r>
              <a:rPr lang="nl-BE" sz="1600" b="1" dirty="0">
                <a:solidFill>
                  <a:schemeClr val="tx1"/>
                </a:solidFill>
              </a:rPr>
              <a:t>r</a:t>
            </a:r>
            <a:r>
              <a:rPr lang="nl-BE" sz="1600" b="1" dirty="0" smtClean="0">
                <a:solidFill>
                  <a:schemeClr val="tx1"/>
                </a:solidFill>
              </a:rPr>
              <a:t>ond vakantie </a:t>
            </a:r>
          </a:p>
          <a:p>
            <a:pPr algn="ctr"/>
            <a:endParaRPr lang="nl-BE" sz="1600" b="1" dirty="0">
              <a:solidFill>
                <a:schemeClr val="tx1"/>
              </a:solidFill>
            </a:endParaRPr>
          </a:p>
          <a:p>
            <a:pPr algn="ctr"/>
            <a:r>
              <a:rPr lang="nl-BE" sz="1600" b="1" dirty="0" smtClean="0">
                <a:solidFill>
                  <a:schemeClr val="tx1"/>
                </a:solidFill>
              </a:rPr>
              <a:t> </a:t>
            </a:r>
            <a:r>
              <a:rPr lang="nl-BE" sz="1600" b="1" dirty="0" err="1" smtClean="0">
                <a:solidFill>
                  <a:schemeClr val="tx1"/>
                </a:solidFill>
              </a:rPr>
              <a:t>Sensibilisation</a:t>
            </a:r>
            <a:endParaRPr lang="nl-BE" sz="1600" b="1" dirty="0" smtClean="0">
              <a:solidFill>
                <a:schemeClr val="tx1"/>
              </a:solidFill>
            </a:endParaRPr>
          </a:p>
          <a:p>
            <a:pPr algn="ctr"/>
            <a:r>
              <a:rPr lang="nl-BE" sz="1600" b="1" dirty="0" err="1">
                <a:solidFill>
                  <a:schemeClr val="tx1"/>
                </a:solidFill>
              </a:rPr>
              <a:t>a</a:t>
            </a:r>
            <a:r>
              <a:rPr lang="nl-BE" sz="1600" b="1" dirty="0" err="1" smtClean="0">
                <a:solidFill>
                  <a:schemeClr val="tx1"/>
                </a:solidFill>
              </a:rPr>
              <a:t>utour</a:t>
            </a:r>
            <a:r>
              <a:rPr lang="nl-BE" sz="1600" b="1" dirty="0" smtClean="0">
                <a:solidFill>
                  <a:schemeClr val="tx1"/>
                </a:solidFill>
              </a:rPr>
              <a:t> </a:t>
            </a:r>
            <a:r>
              <a:rPr lang="nl-BE" sz="1600" b="1" dirty="0" err="1" smtClean="0">
                <a:solidFill>
                  <a:schemeClr val="tx1"/>
                </a:solidFill>
              </a:rPr>
              <a:t>acances</a:t>
            </a:r>
            <a:endParaRPr lang="en-US" sz="1600" b="1" dirty="0" smtClean="0">
              <a:solidFill>
                <a:schemeClr val="tx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3738191" y="4535686"/>
            <a:ext cx="2012398" cy="1778496"/>
          </a:xfrm>
          <a:prstGeom prst="roundRect">
            <a:avLst/>
          </a:prstGeom>
          <a:noFill/>
          <a:ln w="5715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nl-BE" sz="1600" b="1" dirty="0" smtClean="0">
                <a:solidFill>
                  <a:schemeClr val="tx1"/>
                </a:solidFill>
              </a:rPr>
              <a:t>Promoten adoptie asieldieren – </a:t>
            </a:r>
          </a:p>
          <a:p>
            <a:pPr algn="ctr"/>
            <a:endParaRPr lang="nl-BE" sz="1600" b="1" dirty="0" smtClean="0">
              <a:solidFill>
                <a:schemeClr val="tx1"/>
              </a:solidFill>
            </a:endParaRPr>
          </a:p>
          <a:p>
            <a:pPr algn="ctr"/>
            <a:r>
              <a:rPr lang="nl-BE" sz="1600" b="1" dirty="0" err="1" smtClean="0">
                <a:solidFill>
                  <a:schemeClr val="tx1"/>
                </a:solidFill>
              </a:rPr>
              <a:t>Promouvoir</a:t>
            </a:r>
            <a:r>
              <a:rPr lang="nl-BE" sz="1600" b="1" dirty="0" smtClean="0">
                <a:solidFill>
                  <a:schemeClr val="tx1"/>
                </a:solidFill>
              </a:rPr>
              <a:t> </a:t>
            </a:r>
            <a:r>
              <a:rPr lang="nl-BE" sz="1600" b="1" dirty="0" err="1" smtClean="0">
                <a:solidFill>
                  <a:schemeClr val="tx1"/>
                </a:solidFill>
              </a:rPr>
              <a:t>l’adoption</a:t>
            </a:r>
            <a:r>
              <a:rPr lang="nl-BE" sz="1600" b="1" dirty="0" smtClean="0">
                <a:solidFill>
                  <a:schemeClr val="tx1"/>
                </a:solidFill>
              </a:rPr>
              <a:t> des </a:t>
            </a:r>
            <a:r>
              <a:rPr lang="nl-BE" sz="1600" b="1" dirty="0" err="1" smtClean="0">
                <a:solidFill>
                  <a:schemeClr val="tx1"/>
                </a:solidFill>
              </a:rPr>
              <a:t>animaux</a:t>
            </a:r>
            <a:r>
              <a:rPr lang="nl-BE" sz="1600" b="1" dirty="0" smtClean="0">
                <a:solidFill>
                  <a:schemeClr val="tx1"/>
                </a:solidFill>
              </a:rPr>
              <a:t> de refuge</a:t>
            </a:r>
            <a:endParaRPr lang="en-US" sz="1600" b="1" dirty="0" smtClean="0">
              <a:solidFill>
                <a:schemeClr val="tx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5895342" y="4535686"/>
            <a:ext cx="2012398" cy="1778496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nl-BE" sz="1600" b="1" dirty="0" smtClean="0">
                <a:solidFill>
                  <a:schemeClr val="tx1"/>
                </a:solidFill>
              </a:rPr>
              <a:t>Maaltijden inzamelen</a:t>
            </a:r>
          </a:p>
          <a:p>
            <a:pPr algn="ctr"/>
            <a:endParaRPr lang="nl-BE" sz="1600" b="1" dirty="0" smtClean="0">
              <a:solidFill>
                <a:schemeClr val="tx1"/>
              </a:solidFill>
            </a:endParaRPr>
          </a:p>
          <a:p>
            <a:pPr algn="ctr"/>
            <a:r>
              <a:rPr lang="nl-BE" sz="1600" b="1" dirty="0" err="1" smtClean="0">
                <a:solidFill>
                  <a:schemeClr val="tx1"/>
                </a:solidFill>
              </a:rPr>
              <a:t>Collectionner</a:t>
            </a:r>
            <a:r>
              <a:rPr lang="nl-BE" sz="1600" b="1" dirty="0" smtClean="0">
                <a:solidFill>
                  <a:schemeClr val="tx1"/>
                </a:solidFill>
              </a:rPr>
              <a:t> des </a:t>
            </a:r>
            <a:r>
              <a:rPr lang="nl-BE" sz="1600" b="1" dirty="0" err="1" smtClean="0">
                <a:solidFill>
                  <a:schemeClr val="tx1"/>
                </a:solidFill>
              </a:rPr>
              <a:t>repas</a:t>
            </a:r>
            <a:endParaRPr lang="en-US" sz="1600" b="1" dirty="0" smtClean="0">
              <a:solidFill>
                <a:schemeClr val="tx1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16"/>
          <a:stretch/>
        </p:blipFill>
        <p:spPr bwMode="auto">
          <a:xfrm>
            <a:off x="0" y="6611275"/>
            <a:ext cx="9729788" cy="8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52272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730" name="Picture 2" descr="http://www.blogcdn.com/www.pawnation.com/media/2013/05/115974839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4"/>
          <a:stretch/>
        </p:blipFill>
        <p:spPr bwMode="auto">
          <a:xfrm>
            <a:off x="904454" y="2462653"/>
            <a:ext cx="3822802" cy="305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732" name="Picture 4" descr="http://www.petango.com/assets/images/blog/shelterkitte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580" y="2462653"/>
            <a:ext cx="4161664" cy="305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95080" y="1338079"/>
            <a:ext cx="9001000" cy="1569660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nl-BE" sz="4800" b="1" dirty="0" smtClean="0">
                <a:solidFill>
                  <a:srgbClr val="FFC000"/>
                </a:solidFill>
                <a:latin typeface="Marsfont" panose="02000000000000000000" pitchFamily="2" charset="0"/>
              </a:rPr>
              <a:t>1. SENSIBILISATION - </a:t>
            </a:r>
            <a:r>
              <a:rPr lang="nl-BE" sz="4800" b="1" dirty="0" smtClean="0">
                <a:solidFill>
                  <a:srgbClr val="A8007C"/>
                </a:solidFill>
                <a:latin typeface="Marsfont" panose="02000000000000000000" pitchFamily="2" charset="0"/>
              </a:rPr>
              <a:t>SENSIBILISERING</a:t>
            </a:r>
            <a:r>
              <a:rPr lang="nl-BE" sz="4800" b="1" dirty="0" smtClean="0">
                <a:solidFill>
                  <a:prstClr val="black"/>
                </a:solidFill>
                <a:latin typeface="Marsfont" panose="02000000000000000000" pitchFamily="2" charset="0"/>
              </a:rPr>
              <a:t> </a:t>
            </a:r>
          </a:p>
          <a:p>
            <a:pPr algn="ctr"/>
            <a:endParaRPr lang="nl-BE" sz="4800" b="1" dirty="0" smtClean="0">
              <a:solidFill>
                <a:prstClr val="black"/>
              </a:solidFill>
              <a:latin typeface="Marsfont" panose="02000000000000000000" pitchFamily="2" charset="0"/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16"/>
          <a:stretch/>
        </p:blipFill>
        <p:spPr bwMode="auto">
          <a:xfrm>
            <a:off x="0" y="6611275"/>
            <a:ext cx="9729788" cy="8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16978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://ak7.picdn.net/shutterstock/videos/2806885/preview/stock-footage-dog-left-behind-in-the-forest-do-not-worry-the-dog-is-an-actor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2"/>
          <a:stretch/>
        </p:blipFill>
        <p:spPr bwMode="auto">
          <a:xfrm>
            <a:off x="516637" y="2280725"/>
            <a:ext cx="3744416" cy="2507267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7" name="Picture 2" descr="Dont leave the dog!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3061" y="390132"/>
            <a:ext cx="4142387" cy="2754689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8" name="Picture 2" descr="http://www.examiner.com/images/blog/EXID23683/images/feral_cat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9030" y="2998151"/>
            <a:ext cx="2783616" cy="3245032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sp>
        <p:nvSpPr>
          <p:cNvPr id="3" name="Rounded Rectangle 2"/>
          <p:cNvSpPr/>
          <p:nvPr/>
        </p:nvSpPr>
        <p:spPr>
          <a:xfrm>
            <a:off x="2285524" y="4945020"/>
            <a:ext cx="3587482" cy="1513178"/>
          </a:xfrm>
          <a:prstGeom prst="roundRect">
            <a:avLst/>
          </a:prstGeom>
          <a:solidFill>
            <a:srgbClr val="FFC000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err="1" smtClean="0">
                <a:solidFill>
                  <a:schemeClr val="tx1"/>
                </a:solidFill>
              </a:rPr>
              <a:t>Chaque</a:t>
            </a:r>
            <a:r>
              <a:rPr lang="nl-BE" sz="2400" b="1" dirty="0" smtClean="0">
                <a:solidFill>
                  <a:schemeClr val="tx1"/>
                </a:solidFill>
              </a:rPr>
              <a:t> </a:t>
            </a:r>
            <a:r>
              <a:rPr lang="nl-BE" sz="2400" b="1" dirty="0" err="1" smtClean="0">
                <a:solidFill>
                  <a:schemeClr val="tx1"/>
                </a:solidFill>
              </a:rPr>
              <a:t>été</a:t>
            </a:r>
            <a:r>
              <a:rPr lang="nl-BE" sz="2400" b="1" dirty="0" smtClean="0">
                <a:solidFill>
                  <a:schemeClr val="tx1"/>
                </a:solidFill>
              </a:rPr>
              <a:t> plus que 24.000 </a:t>
            </a:r>
            <a:r>
              <a:rPr lang="nl-BE" sz="2400" b="1" dirty="0" err="1" smtClean="0">
                <a:solidFill>
                  <a:schemeClr val="tx1"/>
                </a:solidFill>
              </a:rPr>
              <a:t>chiens</a:t>
            </a:r>
            <a:r>
              <a:rPr lang="nl-BE" sz="2400" b="1" dirty="0">
                <a:solidFill>
                  <a:schemeClr val="tx1"/>
                </a:solidFill>
              </a:rPr>
              <a:t> </a:t>
            </a:r>
            <a:r>
              <a:rPr lang="nl-BE" sz="2400" b="1" dirty="0" smtClean="0">
                <a:solidFill>
                  <a:schemeClr val="tx1"/>
                </a:solidFill>
              </a:rPr>
              <a:t>&amp; 31.000 </a:t>
            </a:r>
            <a:r>
              <a:rPr lang="nl-BE" sz="2400" b="1" dirty="0" err="1" smtClean="0">
                <a:solidFill>
                  <a:schemeClr val="tx1"/>
                </a:solidFill>
              </a:rPr>
              <a:t>chats</a:t>
            </a:r>
            <a:r>
              <a:rPr lang="nl-BE" sz="2400" b="1" dirty="0">
                <a:solidFill>
                  <a:schemeClr val="tx1"/>
                </a:solidFill>
              </a:rPr>
              <a:t> </a:t>
            </a:r>
            <a:r>
              <a:rPr lang="nl-BE" sz="2400" b="1" dirty="0" smtClean="0">
                <a:solidFill>
                  <a:schemeClr val="tx1"/>
                </a:solidFill>
              </a:rPr>
              <a:t>– 2/3</a:t>
            </a:r>
            <a:r>
              <a:rPr lang="nl-BE" sz="2400" b="1" baseline="30000" dirty="0" smtClean="0">
                <a:solidFill>
                  <a:schemeClr val="tx1"/>
                </a:solidFill>
              </a:rPr>
              <a:t>de</a:t>
            </a:r>
            <a:r>
              <a:rPr lang="nl-BE" sz="2400" b="1" dirty="0" smtClean="0">
                <a:solidFill>
                  <a:schemeClr val="tx1"/>
                </a:solidFill>
              </a:rPr>
              <a:t> pendant </a:t>
            </a:r>
            <a:r>
              <a:rPr lang="nl-BE" sz="2400" b="1" dirty="0" err="1" smtClean="0">
                <a:solidFill>
                  <a:schemeClr val="tx1"/>
                </a:solidFill>
              </a:rPr>
              <a:t>période</a:t>
            </a:r>
            <a:r>
              <a:rPr lang="nl-BE" sz="2400" b="1" dirty="0" smtClean="0">
                <a:solidFill>
                  <a:schemeClr val="tx1"/>
                </a:solidFill>
              </a:rPr>
              <a:t> </a:t>
            </a:r>
            <a:r>
              <a:rPr lang="nl-BE" sz="2400" b="1" dirty="0" err="1" smtClean="0">
                <a:solidFill>
                  <a:schemeClr val="tx1"/>
                </a:solidFill>
              </a:rPr>
              <a:t>d’été</a:t>
            </a:r>
            <a:r>
              <a:rPr lang="nl-BE" sz="2400" b="1" dirty="0" smtClean="0">
                <a:solidFill>
                  <a:schemeClr val="tx1"/>
                </a:solidFill>
              </a:rPr>
              <a:t>!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328390" y="265510"/>
            <a:ext cx="3600399" cy="1654166"/>
          </a:xfrm>
          <a:prstGeom prst="roundRect">
            <a:avLst/>
          </a:prstGeom>
          <a:solidFill>
            <a:srgbClr val="A8007C"/>
          </a:solidFill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chemeClr val="bg1"/>
                </a:solidFill>
              </a:rPr>
              <a:t>Ieder jaar meer dan 24.000 honden</a:t>
            </a:r>
            <a:r>
              <a:rPr lang="nl-BE" sz="2400" b="1" dirty="0">
                <a:solidFill>
                  <a:schemeClr val="bg1"/>
                </a:solidFill>
              </a:rPr>
              <a:t> </a:t>
            </a:r>
            <a:r>
              <a:rPr lang="nl-BE" sz="2400" b="1" dirty="0" smtClean="0">
                <a:solidFill>
                  <a:schemeClr val="bg1"/>
                </a:solidFill>
              </a:rPr>
              <a:t>&amp; 31.000 katten – 2/3</a:t>
            </a:r>
            <a:r>
              <a:rPr lang="nl-BE" sz="2400" b="1" baseline="30000" dirty="0" smtClean="0">
                <a:solidFill>
                  <a:schemeClr val="bg1"/>
                </a:solidFill>
              </a:rPr>
              <a:t>de</a:t>
            </a:r>
            <a:r>
              <a:rPr lang="nl-BE" sz="2400" b="1" dirty="0" smtClean="0">
                <a:solidFill>
                  <a:schemeClr val="bg1"/>
                </a:solidFill>
              </a:rPr>
              <a:t> in zomerperiode!</a:t>
            </a:r>
            <a:endParaRPr lang="en-US" sz="2400" b="1" dirty="0">
              <a:solidFill>
                <a:schemeClr val="bg1"/>
              </a:solidFill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16"/>
          <a:stretch/>
        </p:blipFill>
        <p:spPr bwMode="auto">
          <a:xfrm>
            <a:off x="0" y="6611275"/>
            <a:ext cx="9729788" cy="8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20689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16"/>
          <a:stretch/>
        </p:blipFill>
        <p:spPr bwMode="auto">
          <a:xfrm>
            <a:off x="0" y="6611275"/>
            <a:ext cx="9729788" cy="8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 descr="I:\BLBPRORGA-Employees\2014\02 Corp Comms &amp; Brand PR\Mars\04 - Pet\projects\Animals 4 animals\Animals4Animals 2014\Geena Lisa &amp; dog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92228">
            <a:off x="314320" y="472970"/>
            <a:ext cx="5152942" cy="288032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pic>
        <p:nvPicPr>
          <p:cNvPr id="4" name="Picture 2" descr="http://i1.ytimg.com/vi/hQFkJIRWdzU/maxresdefault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04789">
            <a:off x="4303394" y="3370088"/>
            <a:ext cx="5106640" cy="280831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sp>
        <p:nvSpPr>
          <p:cNvPr id="5" name="Rounded Rectangle 4"/>
          <p:cNvSpPr/>
          <p:nvPr/>
        </p:nvSpPr>
        <p:spPr>
          <a:xfrm>
            <a:off x="688430" y="4441974"/>
            <a:ext cx="2657726" cy="1298162"/>
          </a:xfrm>
          <a:prstGeom prst="roundRect">
            <a:avLst/>
          </a:prstGeom>
          <a:solidFill>
            <a:srgbClr val="FFC000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chemeClr val="tx1"/>
                </a:solidFill>
              </a:rPr>
              <a:t>JULIE</a:t>
            </a:r>
          </a:p>
          <a:p>
            <a:pPr algn="ctr"/>
            <a:r>
              <a:rPr lang="nl-BE" sz="2400" b="1" dirty="0" smtClean="0">
                <a:solidFill>
                  <a:schemeClr val="tx1"/>
                </a:solidFill>
              </a:rPr>
              <a:t>TATON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6233046" y="697558"/>
            <a:ext cx="2592288" cy="1654166"/>
          </a:xfrm>
          <a:prstGeom prst="roundRect">
            <a:avLst/>
          </a:prstGeom>
          <a:solidFill>
            <a:srgbClr val="A8007C"/>
          </a:solidFill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chemeClr val="bg1"/>
                </a:solidFill>
              </a:rPr>
              <a:t>GEENA </a:t>
            </a:r>
          </a:p>
          <a:p>
            <a:pPr algn="ctr"/>
            <a:r>
              <a:rPr lang="nl-BE" sz="2400" b="1" dirty="0" smtClean="0">
                <a:solidFill>
                  <a:schemeClr val="bg1"/>
                </a:solidFill>
              </a:rPr>
              <a:t>LISA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3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16"/>
          <a:stretch/>
        </p:blipFill>
        <p:spPr bwMode="auto">
          <a:xfrm>
            <a:off x="0" y="6611275"/>
            <a:ext cx="9729788" cy="8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840558" y="625550"/>
            <a:ext cx="6336704" cy="193899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nl-BE" sz="6000" b="1" dirty="0" smtClean="0">
                <a:solidFill>
                  <a:srgbClr val="FFC000"/>
                </a:solidFill>
                <a:latin typeface="Marsfont" panose="02000000000000000000" pitchFamily="2" charset="0"/>
              </a:rPr>
              <a:t>TIPS &amp; </a:t>
            </a:r>
            <a:r>
              <a:rPr lang="nl-BE" sz="6000" b="1" dirty="0" smtClean="0">
                <a:solidFill>
                  <a:srgbClr val="A8007C"/>
                </a:solidFill>
                <a:latin typeface="Marsfont" panose="02000000000000000000" pitchFamily="2" charset="0"/>
              </a:rPr>
              <a:t>TRICKS</a:t>
            </a:r>
            <a:endParaRPr lang="nl-BE" sz="6000" b="1" dirty="0" smtClean="0">
              <a:solidFill>
                <a:prstClr val="black"/>
              </a:solidFill>
              <a:latin typeface="Marsfont" panose="02000000000000000000" pitchFamily="2" charset="0"/>
            </a:endParaRPr>
          </a:p>
          <a:p>
            <a:pPr algn="ctr"/>
            <a:endParaRPr lang="nl-BE" sz="6000" b="1" dirty="0" smtClean="0">
              <a:solidFill>
                <a:prstClr val="black"/>
              </a:solidFill>
              <a:latin typeface="Marsfont" panose="02000000000000000000" pitchFamily="2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552526" y="1993702"/>
            <a:ext cx="2657726" cy="3496604"/>
          </a:xfrm>
          <a:prstGeom prst="roundRect">
            <a:avLst/>
          </a:prstGeom>
          <a:solidFill>
            <a:srgbClr val="FFC000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chemeClr val="tx1"/>
                </a:solidFill>
              </a:rPr>
              <a:t>TOGETHER ON SUMMER HOLIDAY</a:t>
            </a:r>
          </a:p>
          <a:p>
            <a:endParaRPr lang="nl-BE" sz="2000" dirty="0" smtClean="0">
              <a:solidFill>
                <a:schemeClr val="tx1"/>
              </a:solidFill>
            </a:endParaRPr>
          </a:p>
          <a:p>
            <a:pPr marL="342900" indent="-342900">
              <a:buFont typeface="Wingdings" pitchFamily="2" charset="2"/>
              <a:buChar char="v"/>
            </a:pPr>
            <a:r>
              <a:rPr lang="nl-BE" sz="2000" dirty="0" smtClean="0">
                <a:solidFill>
                  <a:schemeClr val="tx1"/>
                </a:solidFill>
              </a:rPr>
              <a:t>PREPARING THE TRIP</a:t>
            </a:r>
          </a:p>
          <a:p>
            <a:pPr marL="342900" indent="-342900">
              <a:buFont typeface="Wingdings" pitchFamily="2" charset="2"/>
              <a:buChar char="v"/>
            </a:pPr>
            <a:r>
              <a:rPr lang="nl-BE" sz="2000" dirty="0" smtClean="0">
                <a:solidFill>
                  <a:schemeClr val="tx1"/>
                </a:solidFill>
              </a:rPr>
              <a:t>ON THE ROAD</a:t>
            </a:r>
          </a:p>
          <a:p>
            <a:pPr marL="342900" indent="-342900">
              <a:buFont typeface="Wingdings" pitchFamily="2" charset="2"/>
              <a:buChar char="v"/>
            </a:pPr>
            <a:r>
              <a:rPr lang="nl-BE" sz="2000" dirty="0" smtClean="0">
                <a:solidFill>
                  <a:schemeClr val="tx1"/>
                </a:solidFill>
              </a:rPr>
              <a:t>AT THE DESTINATION</a:t>
            </a:r>
            <a:endParaRPr lang="nl-BE" sz="2000" dirty="0">
              <a:solidFill>
                <a:schemeClr val="tx1"/>
              </a:solidFill>
            </a:endParaRPr>
          </a:p>
          <a:p>
            <a:pPr algn="ctr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5945014" y="2017200"/>
            <a:ext cx="2592288" cy="3473106"/>
          </a:xfrm>
          <a:prstGeom prst="roundRect">
            <a:avLst/>
          </a:prstGeom>
          <a:solidFill>
            <a:srgbClr val="A8007C"/>
          </a:solidFill>
          <a:ln w="38100">
            <a:solidFill>
              <a:srgbClr val="A80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chemeClr val="bg1"/>
                </a:solidFill>
              </a:rPr>
              <a:t>ANIMALS STAYS</a:t>
            </a:r>
          </a:p>
          <a:p>
            <a:pPr algn="ctr"/>
            <a:r>
              <a:rPr lang="nl-BE" sz="2400" b="1" dirty="0" smtClean="0">
                <a:solidFill>
                  <a:schemeClr val="bg1"/>
                </a:solidFill>
              </a:rPr>
              <a:t>AT HOME</a:t>
            </a:r>
          </a:p>
          <a:p>
            <a:pPr algn="ctr"/>
            <a:endParaRPr lang="nl-BE" sz="2400" b="1" dirty="0" smtClean="0">
              <a:solidFill>
                <a:schemeClr val="bg1"/>
              </a:solidFill>
            </a:endParaRPr>
          </a:p>
          <a:p>
            <a:pPr marL="342900" lvl="0" indent="-342900">
              <a:buFont typeface="Wingdings" pitchFamily="2" charset="2"/>
              <a:buChar char="v"/>
            </a:pPr>
            <a:r>
              <a:rPr lang="nl-BE" sz="2000" dirty="0" smtClean="0">
                <a:solidFill>
                  <a:schemeClr val="bg1"/>
                </a:solidFill>
              </a:rPr>
              <a:t>FRIEND/FAMILY</a:t>
            </a:r>
            <a:endParaRPr lang="nl-BE" sz="2000" dirty="0">
              <a:solidFill>
                <a:schemeClr val="bg1"/>
              </a:solidFill>
            </a:endParaRPr>
          </a:p>
          <a:p>
            <a:pPr marL="342900" lvl="0" indent="-342900">
              <a:buFont typeface="Wingdings" pitchFamily="2" charset="2"/>
              <a:buChar char="v"/>
            </a:pPr>
            <a:r>
              <a:rPr lang="nl-BE" sz="2000" dirty="0" smtClean="0">
                <a:solidFill>
                  <a:schemeClr val="bg1"/>
                </a:solidFill>
              </a:rPr>
              <a:t>PROFESSIONAL CAREGIVER</a:t>
            </a:r>
            <a:endParaRPr lang="nl-BE" sz="2000" dirty="0">
              <a:solidFill>
                <a:schemeClr val="bg1"/>
              </a:solidFill>
            </a:endParaRPr>
          </a:p>
          <a:p>
            <a:pPr marL="342900" lvl="0" indent="-342900">
              <a:buFont typeface="Wingdings" pitchFamily="2" charset="2"/>
              <a:buChar char="v"/>
            </a:pPr>
            <a:r>
              <a:rPr lang="nl-BE" sz="2000" dirty="0" smtClean="0">
                <a:solidFill>
                  <a:schemeClr val="bg1"/>
                </a:solidFill>
              </a:rPr>
              <a:t>ANIMAL HOSTEL</a:t>
            </a:r>
            <a:endParaRPr lang="nl-BE" sz="2400" b="1" dirty="0" smtClean="0">
              <a:solidFill>
                <a:schemeClr val="bg1"/>
              </a:solidFill>
            </a:endParaRPr>
          </a:p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473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16"/>
          <a:stretch/>
        </p:blipFill>
        <p:spPr bwMode="auto">
          <a:xfrm>
            <a:off x="0" y="6611275"/>
            <a:ext cx="9729788" cy="8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571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36" t="10567" r="36082" b="5612"/>
          <a:stretch/>
        </p:blipFill>
        <p:spPr bwMode="auto">
          <a:xfrm rot="21279572">
            <a:off x="518880" y="399332"/>
            <a:ext cx="2875028" cy="577473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pic>
        <p:nvPicPr>
          <p:cNvPr id="115715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52" t="10460" r="35954" b="5183"/>
          <a:stretch/>
        </p:blipFill>
        <p:spPr bwMode="auto">
          <a:xfrm rot="246585">
            <a:off x="6436287" y="399332"/>
            <a:ext cx="2868975" cy="577473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sp>
        <p:nvSpPr>
          <p:cNvPr id="8" name="Rounded Rectangle 7"/>
          <p:cNvSpPr/>
          <p:nvPr/>
        </p:nvSpPr>
        <p:spPr>
          <a:xfrm>
            <a:off x="3575320" y="987630"/>
            <a:ext cx="2657726" cy="1798160"/>
          </a:xfrm>
          <a:prstGeom prst="roundRect">
            <a:avLst/>
          </a:prstGeom>
          <a:solidFill>
            <a:srgbClr val="FFC000"/>
          </a:solidFill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400" b="1" dirty="0" smtClean="0">
                <a:solidFill>
                  <a:schemeClr val="tx1"/>
                </a:solidFill>
              </a:rPr>
              <a:t>DIGITAL DOWNLOAD</a:t>
            </a:r>
          </a:p>
        </p:txBody>
      </p:sp>
    </p:spTree>
    <p:extLst>
      <p:ext uri="{BB962C8B-B14F-4D97-AF65-F5344CB8AC3E}">
        <p14:creationId xmlns:p14="http://schemas.microsoft.com/office/powerpoint/2010/main" val="2197903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730" name="Picture 2" descr="http://www.blogcdn.com/www.pawnation.com/media/2013/05/115974839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4"/>
          <a:stretch/>
        </p:blipFill>
        <p:spPr bwMode="auto">
          <a:xfrm>
            <a:off x="903849" y="1633662"/>
            <a:ext cx="3822802" cy="305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732" name="Picture 4" descr="http://www.petango.com/assets/images/blog/shelterkitte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4975" y="1633662"/>
            <a:ext cx="4161664" cy="305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16"/>
          <a:stretch/>
        </p:blipFill>
        <p:spPr bwMode="auto">
          <a:xfrm>
            <a:off x="0" y="6611275"/>
            <a:ext cx="9729788" cy="8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 descr="C:\Users\vanhunie\Desktop\MARPRD0476 Template ppt A4A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258" t="72321" r="36826" b="7937"/>
          <a:stretch/>
        </p:blipFill>
        <p:spPr bwMode="auto">
          <a:xfrm>
            <a:off x="6665094" y="4946030"/>
            <a:ext cx="1460311" cy="1473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94475" y="509088"/>
            <a:ext cx="9001000" cy="1569660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nl-BE" sz="4800" b="1" dirty="0" smtClean="0">
                <a:solidFill>
                  <a:srgbClr val="FFC000"/>
                </a:solidFill>
                <a:latin typeface="Marsfont" panose="02000000000000000000" pitchFamily="2" charset="0"/>
              </a:rPr>
              <a:t>2. ADOPTIE - </a:t>
            </a:r>
            <a:r>
              <a:rPr lang="nl-BE" sz="4800" b="1" dirty="0" smtClean="0">
                <a:solidFill>
                  <a:srgbClr val="A8007C"/>
                </a:solidFill>
                <a:latin typeface="Marsfont" panose="02000000000000000000" pitchFamily="2" charset="0"/>
              </a:rPr>
              <a:t>ADOPTION</a:t>
            </a:r>
            <a:endParaRPr lang="nl-BE" sz="4800" b="1" dirty="0" smtClean="0">
              <a:solidFill>
                <a:prstClr val="black"/>
              </a:solidFill>
              <a:latin typeface="Marsfont" panose="02000000000000000000" pitchFamily="2" charset="0"/>
            </a:endParaRPr>
          </a:p>
          <a:p>
            <a:pPr algn="ctr"/>
            <a:endParaRPr lang="nl-BE" sz="4800" b="1" dirty="0" smtClean="0">
              <a:solidFill>
                <a:prstClr val="black"/>
              </a:solidFill>
              <a:latin typeface="Marsfont" panose="02000000000000000000" pitchFamily="2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56582" y="5161160"/>
            <a:ext cx="42475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b="1" dirty="0" smtClean="0">
                <a:solidFill>
                  <a:schemeClr val="tx2"/>
                </a:solidFill>
              </a:rPr>
              <a:t>PARTNERSHIP MARS – HET BLAUWE KRUIS</a:t>
            </a:r>
            <a:endParaRPr lang="nl-BE" b="1" dirty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074181" y="5680325"/>
            <a:ext cx="3923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b="1" dirty="0" smtClean="0">
                <a:solidFill>
                  <a:schemeClr val="tx2"/>
                </a:solidFill>
              </a:rPr>
              <a:t>PARTENARIAT MARS – LA CROIX BLEUE</a:t>
            </a:r>
            <a:endParaRPr lang="nl-BE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978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26"/>
          <p:cNvGrpSpPr>
            <a:grpSpLocks/>
          </p:cNvGrpSpPr>
          <p:nvPr/>
        </p:nvGrpSpPr>
        <p:grpSpPr bwMode="auto">
          <a:xfrm>
            <a:off x="2848670" y="1758778"/>
            <a:ext cx="5188568" cy="4776906"/>
            <a:chOff x="1331" y="1052"/>
            <a:chExt cx="3214" cy="2959"/>
          </a:xfr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Freeform 3"/>
            <p:cNvSpPr>
              <a:spLocks/>
            </p:cNvSpPr>
            <p:nvPr/>
          </p:nvSpPr>
          <p:spPr bwMode="auto">
            <a:xfrm>
              <a:off x="1331" y="1252"/>
              <a:ext cx="796" cy="959"/>
            </a:xfrm>
            <a:custGeom>
              <a:avLst/>
              <a:gdLst>
                <a:gd name="T0" fmla="*/ 0 w 848"/>
                <a:gd name="T1" fmla="*/ 372 h 932"/>
                <a:gd name="T2" fmla="*/ 752 w 848"/>
                <a:gd name="T3" fmla="*/ 0 h 932"/>
                <a:gd name="T4" fmla="*/ 812 w 848"/>
                <a:gd name="T5" fmla="*/ 88 h 932"/>
                <a:gd name="T6" fmla="*/ 776 w 848"/>
                <a:gd name="T7" fmla="*/ 156 h 932"/>
                <a:gd name="T8" fmla="*/ 744 w 848"/>
                <a:gd name="T9" fmla="*/ 208 h 932"/>
                <a:gd name="T10" fmla="*/ 712 w 848"/>
                <a:gd name="T11" fmla="*/ 360 h 932"/>
                <a:gd name="T12" fmla="*/ 788 w 848"/>
                <a:gd name="T13" fmla="*/ 464 h 932"/>
                <a:gd name="T14" fmla="*/ 792 w 848"/>
                <a:gd name="T15" fmla="*/ 576 h 932"/>
                <a:gd name="T16" fmla="*/ 812 w 848"/>
                <a:gd name="T17" fmla="*/ 592 h 932"/>
                <a:gd name="T18" fmla="*/ 808 w 848"/>
                <a:gd name="T19" fmla="*/ 692 h 932"/>
                <a:gd name="T20" fmla="*/ 848 w 848"/>
                <a:gd name="T21" fmla="*/ 808 h 932"/>
                <a:gd name="T22" fmla="*/ 720 w 848"/>
                <a:gd name="T23" fmla="*/ 932 h 932"/>
                <a:gd name="T24" fmla="*/ 624 w 848"/>
                <a:gd name="T25" fmla="*/ 852 h 932"/>
                <a:gd name="T26" fmla="*/ 576 w 848"/>
                <a:gd name="T27" fmla="*/ 848 h 932"/>
                <a:gd name="T28" fmla="*/ 436 w 848"/>
                <a:gd name="T29" fmla="*/ 844 h 932"/>
                <a:gd name="T30" fmla="*/ 352 w 848"/>
                <a:gd name="T31" fmla="*/ 920 h 932"/>
                <a:gd name="T32" fmla="*/ 276 w 848"/>
                <a:gd name="T33" fmla="*/ 924 h 932"/>
                <a:gd name="T34" fmla="*/ 104 w 848"/>
                <a:gd name="T35" fmla="*/ 780 h 932"/>
                <a:gd name="T36" fmla="*/ 68 w 848"/>
                <a:gd name="T37" fmla="*/ 584 h 932"/>
                <a:gd name="T38" fmla="*/ 0 w 848"/>
                <a:gd name="T39" fmla="*/ 372 h 93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48"/>
                <a:gd name="T61" fmla="*/ 0 h 932"/>
                <a:gd name="T62" fmla="*/ 848 w 848"/>
                <a:gd name="T63" fmla="*/ 932 h 93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48" h="932">
                  <a:moveTo>
                    <a:pt x="0" y="372"/>
                  </a:moveTo>
                  <a:lnTo>
                    <a:pt x="752" y="0"/>
                  </a:lnTo>
                  <a:lnTo>
                    <a:pt x="812" y="88"/>
                  </a:lnTo>
                  <a:lnTo>
                    <a:pt x="776" y="156"/>
                  </a:lnTo>
                  <a:lnTo>
                    <a:pt x="744" y="208"/>
                  </a:lnTo>
                  <a:lnTo>
                    <a:pt x="712" y="360"/>
                  </a:lnTo>
                  <a:lnTo>
                    <a:pt x="788" y="464"/>
                  </a:lnTo>
                  <a:lnTo>
                    <a:pt x="792" y="576"/>
                  </a:lnTo>
                  <a:lnTo>
                    <a:pt x="812" y="592"/>
                  </a:lnTo>
                  <a:lnTo>
                    <a:pt x="808" y="692"/>
                  </a:lnTo>
                  <a:lnTo>
                    <a:pt x="848" y="808"/>
                  </a:lnTo>
                  <a:lnTo>
                    <a:pt x="720" y="932"/>
                  </a:lnTo>
                  <a:lnTo>
                    <a:pt x="624" y="852"/>
                  </a:lnTo>
                  <a:lnTo>
                    <a:pt x="576" y="848"/>
                  </a:lnTo>
                  <a:lnTo>
                    <a:pt x="436" y="844"/>
                  </a:lnTo>
                  <a:lnTo>
                    <a:pt x="352" y="920"/>
                  </a:lnTo>
                  <a:lnTo>
                    <a:pt x="276" y="924"/>
                  </a:lnTo>
                  <a:lnTo>
                    <a:pt x="104" y="780"/>
                  </a:lnTo>
                  <a:lnTo>
                    <a:pt x="68" y="584"/>
                  </a:lnTo>
                  <a:lnTo>
                    <a:pt x="0" y="372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4"/>
            <p:cNvSpPr>
              <a:spLocks/>
            </p:cNvSpPr>
            <p:nvPr/>
          </p:nvSpPr>
          <p:spPr bwMode="auto">
            <a:xfrm>
              <a:off x="1999" y="1246"/>
              <a:ext cx="839" cy="953"/>
            </a:xfrm>
            <a:custGeom>
              <a:avLst/>
              <a:gdLst>
                <a:gd name="T0" fmla="*/ 28 w 894"/>
                <a:gd name="T1" fmla="*/ 212 h 926"/>
                <a:gd name="T2" fmla="*/ 76 w 894"/>
                <a:gd name="T3" fmla="*/ 474 h 926"/>
                <a:gd name="T4" fmla="*/ 102 w 894"/>
                <a:gd name="T5" fmla="*/ 600 h 926"/>
                <a:gd name="T6" fmla="*/ 140 w 894"/>
                <a:gd name="T7" fmla="*/ 818 h 926"/>
                <a:gd name="T8" fmla="*/ 268 w 894"/>
                <a:gd name="T9" fmla="*/ 926 h 926"/>
                <a:gd name="T10" fmla="*/ 386 w 894"/>
                <a:gd name="T11" fmla="*/ 844 h 926"/>
                <a:gd name="T12" fmla="*/ 540 w 894"/>
                <a:gd name="T13" fmla="*/ 910 h 926"/>
                <a:gd name="T14" fmla="*/ 528 w 894"/>
                <a:gd name="T15" fmla="*/ 864 h 926"/>
                <a:gd name="T16" fmla="*/ 580 w 894"/>
                <a:gd name="T17" fmla="*/ 856 h 926"/>
                <a:gd name="T18" fmla="*/ 658 w 894"/>
                <a:gd name="T19" fmla="*/ 800 h 926"/>
                <a:gd name="T20" fmla="*/ 646 w 894"/>
                <a:gd name="T21" fmla="*/ 746 h 926"/>
                <a:gd name="T22" fmla="*/ 666 w 894"/>
                <a:gd name="T23" fmla="*/ 696 h 926"/>
                <a:gd name="T24" fmla="*/ 686 w 894"/>
                <a:gd name="T25" fmla="*/ 648 h 926"/>
                <a:gd name="T26" fmla="*/ 686 w 894"/>
                <a:gd name="T27" fmla="*/ 618 h 926"/>
                <a:gd name="T28" fmla="*/ 734 w 894"/>
                <a:gd name="T29" fmla="*/ 628 h 926"/>
                <a:gd name="T30" fmla="*/ 736 w 894"/>
                <a:gd name="T31" fmla="*/ 584 h 926"/>
                <a:gd name="T32" fmla="*/ 742 w 894"/>
                <a:gd name="T33" fmla="*/ 530 h 926"/>
                <a:gd name="T34" fmla="*/ 774 w 894"/>
                <a:gd name="T35" fmla="*/ 544 h 926"/>
                <a:gd name="T36" fmla="*/ 790 w 894"/>
                <a:gd name="T37" fmla="*/ 500 h 926"/>
                <a:gd name="T38" fmla="*/ 796 w 894"/>
                <a:gd name="T39" fmla="*/ 458 h 926"/>
                <a:gd name="T40" fmla="*/ 758 w 894"/>
                <a:gd name="T41" fmla="*/ 450 h 926"/>
                <a:gd name="T42" fmla="*/ 778 w 894"/>
                <a:gd name="T43" fmla="*/ 416 h 926"/>
                <a:gd name="T44" fmla="*/ 774 w 894"/>
                <a:gd name="T45" fmla="*/ 346 h 926"/>
                <a:gd name="T46" fmla="*/ 844 w 894"/>
                <a:gd name="T47" fmla="*/ 334 h 926"/>
                <a:gd name="T48" fmla="*/ 892 w 894"/>
                <a:gd name="T49" fmla="*/ 300 h 926"/>
                <a:gd name="T50" fmla="*/ 850 w 894"/>
                <a:gd name="T51" fmla="*/ 148 h 926"/>
                <a:gd name="T52" fmla="*/ 874 w 894"/>
                <a:gd name="T53" fmla="*/ 124 h 926"/>
                <a:gd name="T54" fmla="*/ 832 w 894"/>
                <a:gd name="T55" fmla="*/ 76 h 926"/>
                <a:gd name="T56" fmla="*/ 842 w 894"/>
                <a:gd name="T57" fmla="*/ 16 h 926"/>
                <a:gd name="T58" fmla="*/ 548 w 894"/>
                <a:gd name="T59" fmla="*/ 202 h 926"/>
                <a:gd name="T60" fmla="*/ 432 w 894"/>
                <a:gd name="T61" fmla="*/ 142 h 926"/>
                <a:gd name="T62" fmla="*/ 258 w 894"/>
                <a:gd name="T63" fmla="*/ 156 h 926"/>
                <a:gd name="T64" fmla="*/ 96 w 894"/>
                <a:gd name="T65" fmla="*/ 96 h 9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94"/>
                <a:gd name="T100" fmla="*/ 0 h 926"/>
                <a:gd name="T101" fmla="*/ 894 w 894"/>
                <a:gd name="T102" fmla="*/ 926 h 9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94" h="926">
                  <a:moveTo>
                    <a:pt x="96" y="96"/>
                  </a:moveTo>
                  <a:lnTo>
                    <a:pt x="28" y="212"/>
                  </a:lnTo>
                  <a:lnTo>
                    <a:pt x="0" y="366"/>
                  </a:lnTo>
                  <a:lnTo>
                    <a:pt x="76" y="474"/>
                  </a:lnTo>
                  <a:lnTo>
                    <a:pt x="76" y="582"/>
                  </a:lnTo>
                  <a:lnTo>
                    <a:pt x="102" y="600"/>
                  </a:lnTo>
                  <a:lnTo>
                    <a:pt x="94" y="698"/>
                  </a:lnTo>
                  <a:lnTo>
                    <a:pt x="140" y="818"/>
                  </a:lnTo>
                  <a:lnTo>
                    <a:pt x="190" y="900"/>
                  </a:lnTo>
                  <a:lnTo>
                    <a:pt x="268" y="926"/>
                  </a:lnTo>
                  <a:lnTo>
                    <a:pt x="308" y="846"/>
                  </a:lnTo>
                  <a:lnTo>
                    <a:pt x="386" y="844"/>
                  </a:lnTo>
                  <a:lnTo>
                    <a:pt x="490" y="910"/>
                  </a:lnTo>
                  <a:lnTo>
                    <a:pt x="540" y="910"/>
                  </a:lnTo>
                  <a:lnTo>
                    <a:pt x="554" y="896"/>
                  </a:lnTo>
                  <a:lnTo>
                    <a:pt x="528" y="864"/>
                  </a:lnTo>
                  <a:lnTo>
                    <a:pt x="548" y="830"/>
                  </a:lnTo>
                  <a:lnTo>
                    <a:pt x="580" y="856"/>
                  </a:lnTo>
                  <a:lnTo>
                    <a:pt x="626" y="838"/>
                  </a:lnTo>
                  <a:lnTo>
                    <a:pt x="658" y="800"/>
                  </a:lnTo>
                  <a:lnTo>
                    <a:pt x="656" y="780"/>
                  </a:lnTo>
                  <a:lnTo>
                    <a:pt x="646" y="746"/>
                  </a:lnTo>
                  <a:lnTo>
                    <a:pt x="648" y="716"/>
                  </a:lnTo>
                  <a:lnTo>
                    <a:pt x="666" y="696"/>
                  </a:lnTo>
                  <a:lnTo>
                    <a:pt x="668" y="670"/>
                  </a:lnTo>
                  <a:lnTo>
                    <a:pt x="686" y="648"/>
                  </a:lnTo>
                  <a:lnTo>
                    <a:pt x="670" y="630"/>
                  </a:lnTo>
                  <a:lnTo>
                    <a:pt x="686" y="618"/>
                  </a:lnTo>
                  <a:lnTo>
                    <a:pt x="702" y="634"/>
                  </a:lnTo>
                  <a:lnTo>
                    <a:pt x="734" y="628"/>
                  </a:lnTo>
                  <a:lnTo>
                    <a:pt x="722" y="596"/>
                  </a:lnTo>
                  <a:lnTo>
                    <a:pt x="736" y="584"/>
                  </a:lnTo>
                  <a:lnTo>
                    <a:pt x="724" y="558"/>
                  </a:lnTo>
                  <a:lnTo>
                    <a:pt x="742" y="530"/>
                  </a:lnTo>
                  <a:lnTo>
                    <a:pt x="758" y="540"/>
                  </a:lnTo>
                  <a:lnTo>
                    <a:pt x="774" y="544"/>
                  </a:lnTo>
                  <a:lnTo>
                    <a:pt x="806" y="514"/>
                  </a:lnTo>
                  <a:lnTo>
                    <a:pt x="790" y="500"/>
                  </a:lnTo>
                  <a:lnTo>
                    <a:pt x="810" y="470"/>
                  </a:lnTo>
                  <a:lnTo>
                    <a:pt x="796" y="458"/>
                  </a:lnTo>
                  <a:lnTo>
                    <a:pt x="784" y="476"/>
                  </a:lnTo>
                  <a:lnTo>
                    <a:pt x="758" y="450"/>
                  </a:lnTo>
                  <a:lnTo>
                    <a:pt x="778" y="432"/>
                  </a:lnTo>
                  <a:lnTo>
                    <a:pt x="778" y="416"/>
                  </a:lnTo>
                  <a:lnTo>
                    <a:pt x="742" y="382"/>
                  </a:lnTo>
                  <a:lnTo>
                    <a:pt x="774" y="346"/>
                  </a:lnTo>
                  <a:lnTo>
                    <a:pt x="828" y="348"/>
                  </a:lnTo>
                  <a:lnTo>
                    <a:pt x="844" y="334"/>
                  </a:lnTo>
                  <a:lnTo>
                    <a:pt x="876" y="332"/>
                  </a:lnTo>
                  <a:lnTo>
                    <a:pt x="892" y="300"/>
                  </a:lnTo>
                  <a:lnTo>
                    <a:pt x="894" y="250"/>
                  </a:lnTo>
                  <a:lnTo>
                    <a:pt x="850" y="148"/>
                  </a:lnTo>
                  <a:lnTo>
                    <a:pt x="862" y="128"/>
                  </a:lnTo>
                  <a:lnTo>
                    <a:pt x="874" y="124"/>
                  </a:lnTo>
                  <a:lnTo>
                    <a:pt x="876" y="102"/>
                  </a:lnTo>
                  <a:lnTo>
                    <a:pt x="832" y="76"/>
                  </a:lnTo>
                  <a:lnTo>
                    <a:pt x="832" y="36"/>
                  </a:lnTo>
                  <a:lnTo>
                    <a:pt x="842" y="16"/>
                  </a:lnTo>
                  <a:lnTo>
                    <a:pt x="828" y="0"/>
                  </a:lnTo>
                  <a:lnTo>
                    <a:pt x="548" y="202"/>
                  </a:lnTo>
                  <a:lnTo>
                    <a:pt x="438" y="202"/>
                  </a:lnTo>
                  <a:lnTo>
                    <a:pt x="432" y="142"/>
                  </a:lnTo>
                  <a:lnTo>
                    <a:pt x="336" y="146"/>
                  </a:lnTo>
                  <a:lnTo>
                    <a:pt x="258" y="156"/>
                  </a:lnTo>
                  <a:lnTo>
                    <a:pt x="158" y="172"/>
                  </a:lnTo>
                  <a:lnTo>
                    <a:pt x="96" y="96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1883" y="2079"/>
              <a:ext cx="1196" cy="1291"/>
            </a:xfrm>
            <a:custGeom>
              <a:avLst/>
              <a:gdLst>
                <a:gd name="T0" fmla="*/ 100 w 1274"/>
                <a:gd name="T1" fmla="*/ 412 h 1254"/>
                <a:gd name="T2" fmla="*/ 478 w 1274"/>
                <a:gd name="T3" fmla="*/ 644 h 1254"/>
                <a:gd name="T4" fmla="*/ 868 w 1274"/>
                <a:gd name="T5" fmla="*/ 776 h 1254"/>
                <a:gd name="T6" fmla="*/ 850 w 1274"/>
                <a:gd name="T7" fmla="*/ 1186 h 1254"/>
                <a:gd name="T8" fmla="*/ 1126 w 1274"/>
                <a:gd name="T9" fmla="*/ 1210 h 1254"/>
                <a:gd name="T10" fmla="*/ 1098 w 1274"/>
                <a:gd name="T11" fmla="*/ 1132 h 1254"/>
                <a:gd name="T12" fmla="*/ 1084 w 1274"/>
                <a:gd name="T13" fmla="*/ 1084 h 1254"/>
                <a:gd name="T14" fmla="*/ 1076 w 1274"/>
                <a:gd name="T15" fmla="*/ 1030 h 1254"/>
                <a:gd name="T16" fmla="*/ 1060 w 1274"/>
                <a:gd name="T17" fmla="*/ 992 h 1254"/>
                <a:gd name="T18" fmla="*/ 1074 w 1274"/>
                <a:gd name="T19" fmla="*/ 962 h 1254"/>
                <a:gd name="T20" fmla="*/ 1068 w 1274"/>
                <a:gd name="T21" fmla="*/ 884 h 1254"/>
                <a:gd name="T22" fmla="*/ 1054 w 1274"/>
                <a:gd name="T23" fmla="*/ 802 h 1254"/>
                <a:gd name="T24" fmla="*/ 990 w 1274"/>
                <a:gd name="T25" fmla="*/ 802 h 1254"/>
                <a:gd name="T26" fmla="*/ 976 w 1274"/>
                <a:gd name="T27" fmla="*/ 782 h 1254"/>
                <a:gd name="T28" fmla="*/ 1002 w 1274"/>
                <a:gd name="T29" fmla="*/ 772 h 1254"/>
                <a:gd name="T30" fmla="*/ 1016 w 1274"/>
                <a:gd name="T31" fmla="*/ 744 h 1254"/>
                <a:gd name="T32" fmla="*/ 1048 w 1274"/>
                <a:gd name="T33" fmla="*/ 736 h 1254"/>
                <a:gd name="T34" fmla="*/ 1094 w 1274"/>
                <a:gd name="T35" fmla="*/ 706 h 1254"/>
                <a:gd name="T36" fmla="*/ 1144 w 1274"/>
                <a:gd name="T37" fmla="*/ 674 h 1254"/>
                <a:gd name="T38" fmla="*/ 1176 w 1274"/>
                <a:gd name="T39" fmla="*/ 676 h 1254"/>
                <a:gd name="T40" fmla="*/ 1202 w 1274"/>
                <a:gd name="T41" fmla="*/ 690 h 1254"/>
                <a:gd name="T42" fmla="*/ 1234 w 1274"/>
                <a:gd name="T43" fmla="*/ 686 h 1254"/>
                <a:gd name="T44" fmla="*/ 1252 w 1274"/>
                <a:gd name="T45" fmla="*/ 582 h 1254"/>
                <a:gd name="T46" fmla="*/ 1240 w 1274"/>
                <a:gd name="T47" fmla="*/ 506 h 1254"/>
                <a:gd name="T48" fmla="*/ 1266 w 1274"/>
                <a:gd name="T49" fmla="*/ 476 h 1254"/>
                <a:gd name="T50" fmla="*/ 1238 w 1274"/>
                <a:gd name="T51" fmla="*/ 430 h 1254"/>
                <a:gd name="T52" fmla="*/ 1228 w 1274"/>
                <a:gd name="T53" fmla="*/ 406 h 1254"/>
                <a:gd name="T54" fmla="*/ 1202 w 1274"/>
                <a:gd name="T55" fmla="*/ 396 h 1254"/>
                <a:gd name="T56" fmla="*/ 1160 w 1274"/>
                <a:gd name="T57" fmla="*/ 370 h 1254"/>
                <a:gd name="T58" fmla="*/ 1116 w 1274"/>
                <a:gd name="T59" fmla="*/ 344 h 1254"/>
                <a:gd name="T60" fmla="*/ 1082 w 1274"/>
                <a:gd name="T61" fmla="*/ 336 h 1254"/>
                <a:gd name="T62" fmla="*/ 1020 w 1274"/>
                <a:gd name="T63" fmla="*/ 354 h 1254"/>
                <a:gd name="T64" fmla="*/ 984 w 1274"/>
                <a:gd name="T65" fmla="*/ 308 h 1254"/>
                <a:gd name="T66" fmla="*/ 950 w 1274"/>
                <a:gd name="T67" fmla="*/ 296 h 1254"/>
                <a:gd name="T68" fmla="*/ 950 w 1274"/>
                <a:gd name="T69" fmla="*/ 264 h 1254"/>
                <a:gd name="T70" fmla="*/ 898 w 1274"/>
                <a:gd name="T71" fmla="*/ 238 h 1254"/>
                <a:gd name="T72" fmla="*/ 848 w 1274"/>
                <a:gd name="T73" fmla="*/ 218 h 1254"/>
                <a:gd name="T74" fmla="*/ 834 w 1274"/>
                <a:gd name="T75" fmla="*/ 254 h 1254"/>
                <a:gd name="T76" fmla="*/ 812 w 1274"/>
                <a:gd name="T77" fmla="*/ 194 h 1254"/>
                <a:gd name="T78" fmla="*/ 768 w 1274"/>
                <a:gd name="T79" fmla="*/ 138 h 1254"/>
                <a:gd name="T80" fmla="*/ 722 w 1274"/>
                <a:gd name="T81" fmla="*/ 138 h 1254"/>
                <a:gd name="T82" fmla="*/ 678 w 1274"/>
                <a:gd name="T83" fmla="*/ 142 h 1254"/>
                <a:gd name="T84" fmla="*/ 646 w 1274"/>
                <a:gd name="T85" fmla="*/ 150 h 1254"/>
                <a:gd name="T86" fmla="*/ 616 w 1274"/>
                <a:gd name="T87" fmla="*/ 106 h 1254"/>
                <a:gd name="T88" fmla="*/ 510 w 1274"/>
                <a:gd name="T89" fmla="*/ 30 h 1254"/>
                <a:gd name="T90" fmla="*/ 388 w 1274"/>
                <a:gd name="T91" fmla="*/ 108 h 1254"/>
                <a:gd name="T92" fmla="*/ 262 w 1274"/>
                <a:gd name="T93" fmla="*/ 0 h 1254"/>
                <a:gd name="T94" fmla="*/ 32 w 1274"/>
                <a:gd name="T95" fmla="*/ 42 h 125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74"/>
                <a:gd name="T145" fmla="*/ 0 h 1254"/>
                <a:gd name="T146" fmla="*/ 1274 w 1274"/>
                <a:gd name="T147" fmla="*/ 1254 h 125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74" h="1254">
                  <a:moveTo>
                    <a:pt x="0" y="44"/>
                  </a:moveTo>
                  <a:lnTo>
                    <a:pt x="100" y="412"/>
                  </a:lnTo>
                  <a:lnTo>
                    <a:pt x="364" y="440"/>
                  </a:lnTo>
                  <a:lnTo>
                    <a:pt x="478" y="644"/>
                  </a:lnTo>
                  <a:lnTo>
                    <a:pt x="706" y="648"/>
                  </a:lnTo>
                  <a:lnTo>
                    <a:pt x="868" y="776"/>
                  </a:lnTo>
                  <a:lnTo>
                    <a:pt x="882" y="1064"/>
                  </a:lnTo>
                  <a:lnTo>
                    <a:pt x="850" y="1186"/>
                  </a:lnTo>
                  <a:lnTo>
                    <a:pt x="1116" y="1254"/>
                  </a:lnTo>
                  <a:lnTo>
                    <a:pt x="1126" y="1210"/>
                  </a:lnTo>
                  <a:lnTo>
                    <a:pt x="1092" y="1176"/>
                  </a:lnTo>
                  <a:lnTo>
                    <a:pt x="1098" y="1132"/>
                  </a:lnTo>
                  <a:lnTo>
                    <a:pt x="1082" y="1110"/>
                  </a:lnTo>
                  <a:lnTo>
                    <a:pt x="1084" y="1084"/>
                  </a:lnTo>
                  <a:lnTo>
                    <a:pt x="1064" y="1052"/>
                  </a:lnTo>
                  <a:lnTo>
                    <a:pt x="1076" y="1030"/>
                  </a:lnTo>
                  <a:lnTo>
                    <a:pt x="1074" y="1006"/>
                  </a:lnTo>
                  <a:lnTo>
                    <a:pt x="1060" y="992"/>
                  </a:lnTo>
                  <a:lnTo>
                    <a:pt x="1066" y="978"/>
                  </a:lnTo>
                  <a:lnTo>
                    <a:pt x="1074" y="962"/>
                  </a:lnTo>
                  <a:lnTo>
                    <a:pt x="1046" y="914"/>
                  </a:lnTo>
                  <a:lnTo>
                    <a:pt x="1068" y="884"/>
                  </a:lnTo>
                  <a:lnTo>
                    <a:pt x="1070" y="814"/>
                  </a:lnTo>
                  <a:lnTo>
                    <a:pt x="1054" y="802"/>
                  </a:lnTo>
                  <a:lnTo>
                    <a:pt x="1022" y="824"/>
                  </a:lnTo>
                  <a:lnTo>
                    <a:pt x="990" y="802"/>
                  </a:lnTo>
                  <a:lnTo>
                    <a:pt x="976" y="798"/>
                  </a:lnTo>
                  <a:lnTo>
                    <a:pt x="976" y="782"/>
                  </a:lnTo>
                  <a:lnTo>
                    <a:pt x="990" y="776"/>
                  </a:lnTo>
                  <a:lnTo>
                    <a:pt x="1002" y="772"/>
                  </a:lnTo>
                  <a:lnTo>
                    <a:pt x="1008" y="754"/>
                  </a:lnTo>
                  <a:lnTo>
                    <a:pt x="1016" y="744"/>
                  </a:lnTo>
                  <a:lnTo>
                    <a:pt x="1036" y="750"/>
                  </a:lnTo>
                  <a:lnTo>
                    <a:pt x="1048" y="736"/>
                  </a:lnTo>
                  <a:lnTo>
                    <a:pt x="1070" y="736"/>
                  </a:lnTo>
                  <a:lnTo>
                    <a:pt x="1094" y="706"/>
                  </a:lnTo>
                  <a:lnTo>
                    <a:pt x="1122" y="702"/>
                  </a:lnTo>
                  <a:lnTo>
                    <a:pt x="1144" y="674"/>
                  </a:lnTo>
                  <a:lnTo>
                    <a:pt x="1160" y="688"/>
                  </a:lnTo>
                  <a:lnTo>
                    <a:pt x="1176" y="676"/>
                  </a:lnTo>
                  <a:lnTo>
                    <a:pt x="1184" y="694"/>
                  </a:lnTo>
                  <a:lnTo>
                    <a:pt x="1202" y="690"/>
                  </a:lnTo>
                  <a:lnTo>
                    <a:pt x="1216" y="672"/>
                  </a:lnTo>
                  <a:lnTo>
                    <a:pt x="1234" y="686"/>
                  </a:lnTo>
                  <a:lnTo>
                    <a:pt x="1250" y="666"/>
                  </a:lnTo>
                  <a:lnTo>
                    <a:pt x="1252" y="582"/>
                  </a:lnTo>
                  <a:lnTo>
                    <a:pt x="1274" y="544"/>
                  </a:lnTo>
                  <a:lnTo>
                    <a:pt x="1240" y="506"/>
                  </a:lnTo>
                  <a:lnTo>
                    <a:pt x="1244" y="486"/>
                  </a:lnTo>
                  <a:lnTo>
                    <a:pt x="1266" y="476"/>
                  </a:lnTo>
                  <a:lnTo>
                    <a:pt x="1264" y="452"/>
                  </a:lnTo>
                  <a:lnTo>
                    <a:pt x="1238" y="430"/>
                  </a:lnTo>
                  <a:lnTo>
                    <a:pt x="1212" y="424"/>
                  </a:lnTo>
                  <a:lnTo>
                    <a:pt x="1228" y="406"/>
                  </a:lnTo>
                  <a:lnTo>
                    <a:pt x="1230" y="370"/>
                  </a:lnTo>
                  <a:lnTo>
                    <a:pt x="1202" y="396"/>
                  </a:lnTo>
                  <a:lnTo>
                    <a:pt x="1180" y="394"/>
                  </a:lnTo>
                  <a:lnTo>
                    <a:pt x="1160" y="370"/>
                  </a:lnTo>
                  <a:lnTo>
                    <a:pt x="1138" y="372"/>
                  </a:lnTo>
                  <a:lnTo>
                    <a:pt x="1116" y="344"/>
                  </a:lnTo>
                  <a:lnTo>
                    <a:pt x="1092" y="346"/>
                  </a:lnTo>
                  <a:lnTo>
                    <a:pt x="1082" y="336"/>
                  </a:lnTo>
                  <a:lnTo>
                    <a:pt x="1042" y="336"/>
                  </a:lnTo>
                  <a:lnTo>
                    <a:pt x="1020" y="354"/>
                  </a:lnTo>
                  <a:lnTo>
                    <a:pt x="996" y="332"/>
                  </a:lnTo>
                  <a:lnTo>
                    <a:pt x="984" y="308"/>
                  </a:lnTo>
                  <a:lnTo>
                    <a:pt x="964" y="294"/>
                  </a:lnTo>
                  <a:lnTo>
                    <a:pt x="950" y="296"/>
                  </a:lnTo>
                  <a:lnTo>
                    <a:pt x="938" y="278"/>
                  </a:lnTo>
                  <a:lnTo>
                    <a:pt x="950" y="264"/>
                  </a:lnTo>
                  <a:lnTo>
                    <a:pt x="934" y="254"/>
                  </a:lnTo>
                  <a:lnTo>
                    <a:pt x="898" y="238"/>
                  </a:lnTo>
                  <a:lnTo>
                    <a:pt x="882" y="190"/>
                  </a:lnTo>
                  <a:lnTo>
                    <a:pt x="848" y="218"/>
                  </a:lnTo>
                  <a:lnTo>
                    <a:pt x="854" y="234"/>
                  </a:lnTo>
                  <a:lnTo>
                    <a:pt x="834" y="254"/>
                  </a:lnTo>
                  <a:lnTo>
                    <a:pt x="802" y="210"/>
                  </a:lnTo>
                  <a:lnTo>
                    <a:pt x="812" y="194"/>
                  </a:lnTo>
                  <a:lnTo>
                    <a:pt x="792" y="148"/>
                  </a:lnTo>
                  <a:lnTo>
                    <a:pt x="768" y="138"/>
                  </a:lnTo>
                  <a:lnTo>
                    <a:pt x="734" y="150"/>
                  </a:lnTo>
                  <a:lnTo>
                    <a:pt x="722" y="138"/>
                  </a:lnTo>
                  <a:lnTo>
                    <a:pt x="700" y="162"/>
                  </a:lnTo>
                  <a:lnTo>
                    <a:pt x="678" y="142"/>
                  </a:lnTo>
                  <a:lnTo>
                    <a:pt x="668" y="158"/>
                  </a:lnTo>
                  <a:lnTo>
                    <a:pt x="646" y="150"/>
                  </a:lnTo>
                  <a:lnTo>
                    <a:pt x="628" y="146"/>
                  </a:lnTo>
                  <a:lnTo>
                    <a:pt x="616" y="106"/>
                  </a:lnTo>
                  <a:lnTo>
                    <a:pt x="602" y="86"/>
                  </a:lnTo>
                  <a:lnTo>
                    <a:pt x="510" y="30"/>
                  </a:lnTo>
                  <a:lnTo>
                    <a:pt x="426" y="34"/>
                  </a:lnTo>
                  <a:lnTo>
                    <a:pt x="388" y="108"/>
                  </a:lnTo>
                  <a:lnTo>
                    <a:pt x="312" y="84"/>
                  </a:lnTo>
                  <a:lnTo>
                    <a:pt x="262" y="0"/>
                  </a:lnTo>
                  <a:lnTo>
                    <a:pt x="128" y="124"/>
                  </a:lnTo>
                  <a:lnTo>
                    <a:pt x="32" y="42"/>
                  </a:lnTo>
                  <a:lnTo>
                    <a:pt x="0" y="44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2628" y="2101"/>
              <a:ext cx="792" cy="384"/>
            </a:xfrm>
            <a:custGeom>
              <a:avLst/>
              <a:gdLst>
                <a:gd name="T0" fmla="*/ 18 w 844"/>
                <a:gd name="T1" fmla="*/ 172 h 374"/>
                <a:gd name="T2" fmla="*/ 38 w 844"/>
                <a:gd name="T3" fmla="*/ 236 h 374"/>
                <a:gd name="T4" fmla="*/ 50 w 844"/>
                <a:gd name="T5" fmla="*/ 196 h 374"/>
                <a:gd name="T6" fmla="*/ 102 w 844"/>
                <a:gd name="T7" fmla="*/ 220 h 374"/>
                <a:gd name="T8" fmla="*/ 142 w 844"/>
                <a:gd name="T9" fmla="*/ 260 h 374"/>
                <a:gd name="T10" fmla="*/ 166 w 844"/>
                <a:gd name="T11" fmla="*/ 272 h 374"/>
                <a:gd name="T12" fmla="*/ 198 w 844"/>
                <a:gd name="T13" fmla="*/ 312 h 374"/>
                <a:gd name="T14" fmla="*/ 246 w 844"/>
                <a:gd name="T15" fmla="*/ 316 h 374"/>
                <a:gd name="T16" fmla="*/ 296 w 844"/>
                <a:gd name="T17" fmla="*/ 326 h 374"/>
                <a:gd name="T18" fmla="*/ 342 w 844"/>
                <a:gd name="T19" fmla="*/ 354 h 374"/>
                <a:gd name="T20" fmla="*/ 382 w 844"/>
                <a:gd name="T21" fmla="*/ 370 h 374"/>
                <a:gd name="T22" fmla="*/ 436 w 844"/>
                <a:gd name="T23" fmla="*/ 350 h 374"/>
                <a:gd name="T24" fmla="*/ 468 w 844"/>
                <a:gd name="T25" fmla="*/ 298 h 374"/>
                <a:gd name="T26" fmla="*/ 514 w 844"/>
                <a:gd name="T27" fmla="*/ 262 h 374"/>
                <a:gd name="T28" fmla="*/ 570 w 844"/>
                <a:gd name="T29" fmla="*/ 270 h 374"/>
                <a:gd name="T30" fmla="*/ 600 w 844"/>
                <a:gd name="T31" fmla="*/ 268 h 374"/>
                <a:gd name="T32" fmla="*/ 638 w 844"/>
                <a:gd name="T33" fmla="*/ 270 h 374"/>
                <a:gd name="T34" fmla="*/ 698 w 844"/>
                <a:gd name="T35" fmla="*/ 252 h 374"/>
                <a:gd name="T36" fmla="*/ 726 w 844"/>
                <a:gd name="T37" fmla="*/ 240 h 374"/>
                <a:gd name="T38" fmla="*/ 756 w 844"/>
                <a:gd name="T39" fmla="*/ 228 h 374"/>
                <a:gd name="T40" fmla="*/ 812 w 844"/>
                <a:gd name="T41" fmla="*/ 198 h 374"/>
                <a:gd name="T42" fmla="*/ 816 w 844"/>
                <a:gd name="T43" fmla="*/ 142 h 374"/>
                <a:gd name="T44" fmla="*/ 818 w 844"/>
                <a:gd name="T45" fmla="*/ 86 h 374"/>
                <a:gd name="T46" fmla="*/ 828 w 844"/>
                <a:gd name="T47" fmla="*/ 30 h 374"/>
                <a:gd name="T48" fmla="*/ 778 w 844"/>
                <a:gd name="T49" fmla="*/ 54 h 374"/>
                <a:gd name="T50" fmla="*/ 726 w 844"/>
                <a:gd name="T51" fmla="*/ 32 h 374"/>
                <a:gd name="T52" fmla="*/ 682 w 844"/>
                <a:gd name="T53" fmla="*/ 14 h 374"/>
                <a:gd name="T54" fmla="*/ 542 w 844"/>
                <a:gd name="T55" fmla="*/ 0 h 374"/>
                <a:gd name="T56" fmla="*/ 516 w 844"/>
                <a:gd name="T57" fmla="*/ 40 h 374"/>
                <a:gd name="T58" fmla="*/ 462 w 844"/>
                <a:gd name="T59" fmla="*/ 62 h 374"/>
                <a:gd name="T60" fmla="*/ 378 w 844"/>
                <a:gd name="T61" fmla="*/ 70 h 374"/>
                <a:gd name="T62" fmla="*/ 240 w 844"/>
                <a:gd name="T63" fmla="*/ 116 h 374"/>
                <a:gd name="T64" fmla="*/ 142 w 844"/>
                <a:gd name="T65" fmla="*/ 150 h 374"/>
                <a:gd name="T66" fmla="*/ 72 w 844"/>
                <a:gd name="T67" fmla="*/ 96 h 374"/>
                <a:gd name="T68" fmla="*/ 30 w 844"/>
                <a:gd name="T69" fmla="*/ 108 h 374"/>
                <a:gd name="T70" fmla="*/ 0 w 844"/>
                <a:gd name="T71" fmla="*/ 132 h 37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44"/>
                <a:gd name="T109" fmla="*/ 0 h 374"/>
                <a:gd name="T110" fmla="*/ 844 w 844"/>
                <a:gd name="T111" fmla="*/ 374 h 37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44" h="374">
                  <a:moveTo>
                    <a:pt x="0" y="132"/>
                  </a:moveTo>
                  <a:lnTo>
                    <a:pt x="18" y="172"/>
                  </a:lnTo>
                  <a:lnTo>
                    <a:pt x="8" y="190"/>
                  </a:lnTo>
                  <a:lnTo>
                    <a:pt x="38" y="236"/>
                  </a:lnTo>
                  <a:lnTo>
                    <a:pt x="62" y="214"/>
                  </a:lnTo>
                  <a:lnTo>
                    <a:pt x="50" y="196"/>
                  </a:lnTo>
                  <a:lnTo>
                    <a:pt x="84" y="172"/>
                  </a:lnTo>
                  <a:lnTo>
                    <a:pt x="102" y="220"/>
                  </a:lnTo>
                  <a:lnTo>
                    <a:pt x="152" y="240"/>
                  </a:lnTo>
                  <a:lnTo>
                    <a:pt x="142" y="260"/>
                  </a:lnTo>
                  <a:lnTo>
                    <a:pt x="152" y="276"/>
                  </a:lnTo>
                  <a:lnTo>
                    <a:pt x="166" y="272"/>
                  </a:lnTo>
                  <a:lnTo>
                    <a:pt x="188" y="290"/>
                  </a:lnTo>
                  <a:lnTo>
                    <a:pt x="198" y="312"/>
                  </a:lnTo>
                  <a:lnTo>
                    <a:pt x="226" y="336"/>
                  </a:lnTo>
                  <a:lnTo>
                    <a:pt x="246" y="316"/>
                  </a:lnTo>
                  <a:lnTo>
                    <a:pt x="286" y="312"/>
                  </a:lnTo>
                  <a:lnTo>
                    <a:pt x="296" y="326"/>
                  </a:lnTo>
                  <a:lnTo>
                    <a:pt x="320" y="322"/>
                  </a:lnTo>
                  <a:lnTo>
                    <a:pt x="342" y="354"/>
                  </a:lnTo>
                  <a:lnTo>
                    <a:pt x="360" y="348"/>
                  </a:lnTo>
                  <a:lnTo>
                    <a:pt x="382" y="370"/>
                  </a:lnTo>
                  <a:lnTo>
                    <a:pt x="404" y="374"/>
                  </a:lnTo>
                  <a:lnTo>
                    <a:pt x="436" y="350"/>
                  </a:lnTo>
                  <a:lnTo>
                    <a:pt x="448" y="336"/>
                  </a:lnTo>
                  <a:lnTo>
                    <a:pt x="468" y="298"/>
                  </a:lnTo>
                  <a:lnTo>
                    <a:pt x="510" y="294"/>
                  </a:lnTo>
                  <a:lnTo>
                    <a:pt x="514" y="262"/>
                  </a:lnTo>
                  <a:lnTo>
                    <a:pt x="552" y="254"/>
                  </a:lnTo>
                  <a:lnTo>
                    <a:pt x="570" y="270"/>
                  </a:lnTo>
                  <a:lnTo>
                    <a:pt x="580" y="252"/>
                  </a:lnTo>
                  <a:lnTo>
                    <a:pt x="600" y="268"/>
                  </a:lnTo>
                  <a:lnTo>
                    <a:pt x="616" y="256"/>
                  </a:lnTo>
                  <a:lnTo>
                    <a:pt x="638" y="270"/>
                  </a:lnTo>
                  <a:lnTo>
                    <a:pt x="654" y="246"/>
                  </a:lnTo>
                  <a:lnTo>
                    <a:pt x="698" y="252"/>
                  </a:lnTo>
                  <a:lnTo>
                    <a:pt x="710" y="232"/>
                  </a:lnTo>
                  <a:lnTo>
                    <a:pt x="726" y="240"/>
                  </a:lnTo>
                  <a:lnTo>
                    <a:pt x="744" y="220"/>
                  </a:lnTo>
                  <a:lnTo>
                    <a:pt x="756" y="228"/>
                  </a:lnTo>
                  <a:lnTo>
                    <a:pt x="782" y="198"/>
                  </a:lnTo>
                  <a:lnTo>
                    <a:pt x="812" y="198"/>
                  </a:lnTo>
                  <a:lnTo>
                    <a:pt x="826" y="164"/>
                  </a:lnTo>
                  <a:lnTo>
                    <a:pt x="816" y="142"/>
                  </a:lnTo>
                  <a:lnTo>
                    <a:pt x="838" y="110"/>
                  </a:lnTo>
                  <a:lnTo>
                    <a:pt x="818" y="86"/>
                  </a:lnTo>
                  <a:lnTo>
                    <a:pt x="844" y="42"/>
                  </a:lnTo>
                  <a:lnTo>
                    <a:pt x="828" y="30"/>
                  </a:lnTo>
                  <a:lnTo>
                    <a:pt x="800" y="42"/>
                  </a:lnTo>
                  <a:lnTo>
                    <a:pt x="778" y="54"/>
                  </a:lnTo>
                  <a:lnTo>
                    <a:pt x="756" y="32"/>
                  </a:lnTo>
                  <a:lnTo>
                    <a:pt x="726" y="32"/>
                  </a:lnTo>
                  <a:lnTo>
                    <a:pt x="708" y="22"/>
                  </a:lnTo>
                  <a:lnTo>
                    <a:pt x="682" y="14"/>
                  </a:lnTo>
                  <a:lnTo>
                    <a:pt x="666" y="4"/>
                  </a:lnTo>
                  <a:lnTo>
                    <a:pt x="542" y="0"/>
                  </a:lnTo>
                  <a:lnTo>
                    <a:pt x="514" y="18"/>
                  </a:lnTo>
                  <a:lnTo>
                    <a:pt x="516" y="40"/>
                  </a:lnTo>
                  <a:lnTo>
                    <a:pt x="482" y="70"/>
                  </a:lnTo>
                  <a:lnTo>
                    <a:pt x="462" y="62"/>
                  </a:lnTo>
                  <a:lnTo>
                    <a:pt x="422" y="100"/>
                  </a:lnTo>
                  <a:lnTo>
                    <a:pt x="378" y="70"/>
                  </a:lnTo>
                  <a:lnTo>
                    <a:pt x="332" y="74"/>
                  </a:lnTo>
                  <a:lnTo>
                    <a:pt x="240" y="116"/>
                  </a:lnTo>
                  <a:lnTo>
                    <a:pt x="204" y="148"/>
                  </a:lnTo>
                  <a:lnTo>
                    <a:pt x="142" y="150"/>
                  </a:lnTo>
                  <a:lnTo>
                    <a:pt x="102" y="130"/>
                  </a:lnTo>
                  <a:lnTo>
                    <a:pt x="72" y="96"/>
                  </a:lnTo>
                  <a:lnTo>
                    <a:pt x="54" y="104"/>
                  </a:lnTo>
                  <a:lnTo>
                    <a:pt x="30" y="108"/>
                  </a:lnTo>
                  <a:lnTo>
                    <a:pt x="14" y="124"/>
                  </a:lnTo>
                  <a:lnTo>
                    <a:pt x="0" y="132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2696" y="1052"/>
              <a:ext cx="934" cy="745"/>
            </a:xfrm>
            <a:custGeom>
              <a:avLst/>
              <a:gdLst>
                <a:gd name="T0" fmla="*/ 112 w 996"/>
                <a:gd name="T1" fmla="*/ 146 h 724"/>
                <a:gd name="T2" fmla="*/ 200 w 996"/>
                <a:gd name="T3" fmla="*/ 182 h 724"/>
                <a:gd name="T4" fmla="*/ 250 w 996"/>
                <a:gd name="T5" fmla="*/ 146 h 724"/>
                <a:gd name="T6" fmla="*/ 326 w 996"/>
                <a:gd name="T7" fmla="*/ 10 h 724"/>
                <a:gd name="T8" fmla="*/ 340 w 996"/>
                <a:gd name="T9" fmla="*/ 106 h 724"/>
                <a:gd name="T10" fmla="*/ 490 w 996"/>
                <a:gd name="T11" fmla="*/ 44 h 724"/>
                <a:gd name="T12" fmla="*/ 598 w 996"/>
                <a:gd name="T13" fmla="*/ 0 h 724"/>
                <a:gd name="T14" fmla="*/ 698 w 996"/>
                <a:gd name="T15" fmla="*/ 118 h 724"/>
                <a:gd name="T16" fmla="*/ 838 w 996"/>
                <a:gd name="T17" fmla="*/ 30 h 724"/>
                <a:gd name="T18" fmla="*/ 896 w 996"/>
                <a:gd name="T19" fmla="*/ 254 h 724"/>
                <a:gd name="T20" fmla="*/ 964 w 996"/>
                <a:gd name="T21" fmla="*/ 322 h 724"/>
                <a:gd name="T22" fmla="*/ 978 w 996"/>
                <a:gd name="T23" fmla="*/ 422 h 724"/>
                <a:gd name="T24" fmla="*/ 996 w 996"/>
                <a:gd name="T25" fmla="*/ 482 h 724"/>
                <a:gd name="T26" fmla="*/ 950 w 996"/>
                <a:gd name="T27" fmla="*/ 504 h 724"/>
                <a:gd name="T28" fmla="*/ 868 w 996"/>
                <a:gd name="T29" fmla="*/ 534 h 724"/>
                <a:gd name="T30" fmla="*/ 788 w 996"/>
                <a:gd name="T31" fmla="*/ 606 h 724"/>
                <a:gd name="T32" fmla="*/ 732 w 996"/>
                <a:gd name="T33" fmla="*/ 648 h 724"/>
                <a:gd name="T34" fmla="*/ 656 w 996"/>
                <a:gd name="T35" fmla="*/ 674 h 724"/>
                <a:gd name="T36" fmla="*/ 598 w 996"/>
                <a:gd name="T37" fmla="*/ 692 h 724"/>
                <a:gd name="T38" fmla="*/ 550 w 996"/>
                <a:gd name="T39" fmla="*/ 646 h 724"/>
                <a:gd name="T40" fmla="*/ 458 w 996"/>
                <a:gd name="T41" fmla="*/ 672 h 724"/>
                <a:gd name="T42" fmla="*/ 400 w 996"/>
                <a:gd name="T43" fmla="*/ 694 h 724"/>
                <a:gd name="T44" fmla="*/ 348 w 996"/>
                <a:gd name="T45" fmla="*/ 694 h 724"/>
                <a:gd name="T46" fmla="*/ 306 w 996"/>
                <a:gd name="T47" fmla="*/ 710 h 724"/>
                <a:gd name="T48" fmla="*/ 278 w 996"/>
                <a:gd name="T49" fmla="*/ 724 h 724"/>
                <a:gd name="T50" fmla="*/ 236 w 996"/>
                <a:gd name="T51" fmla="*/ 702 h 724"/>
                <a:gd name="T52" fmla="*/ 192 w 996"/>
                <a:gd name="T53" fmla="*/ 686 h 724"/>
                <a:gd name="T54" fmla="*/ 168 w 996"/>
                <a:gd name="T55" fmla="*/ 682 h 724"/>
                <a:gd name="T56" fmla="*/ 110 w 996"/>
                <a:gd name="T57" fmla="*/ 652 h 724"/>
                <a:gd name="T58" fmla="*/ 66 w 996"/>
                <a:gd name="T59" fmla="*/ 660 h 724"/>
                <a:gd name="T60" fmla="*/ 42 w 996"/>
                <a:gd name="T61" fmla="*/ 662 h 724"/>
                <a:gd name="T62" fmla="*/ 34 w 996"/>
                <a:gd name="T63" fmla="*/ 620 h 724"/>
                <a:gd name="T64" fmla="*/ 0 w 996"/>
                <a:gd name="T65" fmla="*/ 568 h 724"/>
                <a:gd name="T66" fmla="*/ 84 w 996"/>
                <a:gd name="T67" fmla="*/ 534 h 724"/>
                <a:gd name="T68" fmla="*/ 130 w 996"/>
                <a:gd name="T69" fmla="*/ 520 h 724"/>
                <a:gd name="T70" fmla="*/ 150 w 996"/>
                <a:gd name="T71" fmla="*/ 434 h 724"/>
                <a:gd name="T72" fmla="*/ 118 w 996"/>
                <a:gd name="T73" fmla="*/ 312 h 724"/>
                <a:gd name="T74" fmla="*/ 136 w 996"/>
                <a:gd name="T75" fmla="*/ 288 h 724"/>
                <a:gd name="T76" fmla="*/ 86 w 996"/>
                <a:gd name="T77" fmla="*/ 224 h 724"/>
                <a:gd name="T78" fmla="*/ 82 w 996"/>
                <a:gd name="T79" fmla="*/ 182 h 7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996"/>
                <a:gd name="T121" fmla="*/ 0 h 724"/>
                <a:gd name="T122" fmla="*/ 996 w 996"/>
                <a:gd name="T123" fmla="*/ 724 h 7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996" h="724">
                  <a:moveTo>
                    <a:pt x="82" y="182"/>
                  </a:moveTo>
                  <a:lnTo>
                    <a:pt x="112" y="146"/>
                  </a:lnTo>
                  <a:lnTo>
                    <a:pt x="150" y="148"/>
                  </a:lnTo>
                  <a:lnTo>
                    <a:pt x="200" y="182"/>
                  </a:lnTo>
                  <a:lnTo>
                    <a:pt x="246" y="182"/>
                  </a:lnTo>
                  <a:lnTo>
                    <a:pt x="250" y="146"/>
                  </a:lnTo>
                  <a:lnTo>
                    <a:pt x="200" y="62"/>
                  </a:lnTo>
                  <a:lnTo>
                    <a:pt x="326" y="10"/>
                  </a:lnTo>
                  <a:lnTo>
                    <a:pt x="344" y="26"/>
                  </a:lnTo>
                  <a:lnTo>
                    <a:pt x="340" y="106"/>
                  </a:lnTo>
                  <a:lnTo>
                    <a:pt x="436" y="102"/>
                  </a:lnTo>
                  <a:lnTo>
                    <a:pt x="490" y="44"/>
                  </a:lnTo>
                  <a:lnTo>
                    <a:pt x="530" y="0"/>
                  </a:lnTo>
                  <a:lnTo>
                    <a:pt x="598" y="0"/>
                  </a:lnTo>
                  <a:lnTo>
                    <a:pt x="600" y="124"/>
                  </a:lnTo>
                  <a:lnTo>
                    <a:pt x="698" y="118"/>
                  </a:lnTo>
                  <a:lnTo>
                    <a:pt x="768" y="28"/>
                  </a:lnTo>
                  <a:lnTo>
                    <a:pt x="838" y="30"/>
                  </a:lnTo>
                  <a:lnTo>
                    <a:pt x="830" y="132"/>
                  </a:lnTo>
                  <a:lnTo>
                    <a:pt x="896" y="254"/>
                  </a:lnTo>
                  <a:lnTo>
                    <a:pt x="918" y="256"/>
                  </a:lnTo>
                  <a:lnTo>
                    <a:pt x="964" y="322"/>
                  </a:lnTo>
                  <a:lnTo>
                    <a:pt x="946" y="394"/>
                  </a:lnTo>
                  <a:lnTo>
                    <a:pt x="978" y="422"/>
                  </a:lnTo>
                  <a:lnTo>
                    <a:pt x="994" y="444"/>
                  </a:lnTo>
                  <a:lnTo>
                    <a:pt x="996" y="482"/>
                  </a:lnTo>
                  <a:lnTo>
                    <a:pt x="974" y="510"/>
                  </a:lnTo>
                  <a:lnTo>
                    <a:pt x="950" y="504"/>
                  </a:lnTo>
                  <a:lnTo>
                    <a:pt x="918" y="538"/>
                  </a:lnTo>
                  <a:lnTo>
                    <a:pt x="868" y="534"/>
                  </a:lnTo>
                  <a:lnTo>
                    <a:pt x="822" y="588"/>
                  </a:lnTo>
                  <a:lnTo>
                    <a:pt x="788" y="606"/>
                  </a:lnTo>
                  <a:lnTo>
                    <a:pt x="758" y="604"/>
                  </a:lnTo>
                  <a:lnTo>
                    <a:pt x="732" y="648"/>
                  </a:lnTo>
                  <a:lnTo>
                    <a:pt x="676" y="652"/>
                  </a:lnTo>
                  <a:lnTo>
                    <a:pt x="656" y="674"/>
                  </a:lnTo>
                  <a:lnTo>
                    <a:pt x="638" y="666"/>
                  </a:lnTo>
                  <a:lnTo>
                    <a:pt x="598" y="692"/>
                  </a:lnTo>
                  <a:lnTo>
                    <a:pt x="580" y="668"/>
                  </a:lnTo>
                  <a:lnTo>
                    <a:pt x="550" y="646"/>
                  </a:lnTo>
                  <a:lnTo>
                    <a:pt x="496" y="690"/>
                  </a:lnTo>
                  <a:lnTo>
                    <a:pt x="458" y="672"/>
                  </a:lnTo>
                  <a:lnTo>
                    <a:pt x="424" y="690"/>
                  </a:lnTo>
                  <a:lnTo>
                    <a:pt x="400" y="694"/>
                  </a:lnTo>
                  <a:lnTo>
                    <a:pt x="386" y="718"/>
                  </a:lnTo>
                  <a:lnTo>
                    <a:pt x="348" y="694"/>
                  </a:lnTo>
                  <a:lnTo>
                    <a:pt x="332" y="710"/>
                  </a:lnTo>
                  <a:lnTo>
                    <a:pt x="306" y="710"/>
                  </a:lnTo>
                  <a:lnTo>
                    <a:pt x="292" y="688"/>
                  </a:lnTo>
                  <a:lnTo>
                    <a:pt x="278" y="724"/>
                  </a:lnTo>
                  <a:lnTo>
                    <a:pt x="252" y="698"/>
                  </a:lnTo>
                  <a:lnTo>
                    <a:pt x="236" y="702"/>
                  </a:lnTo>
                  <a:lnTo>
                    <a:pt x="212" y="714"/>
                  </a:lnTo>
                  <a:lnTo>
                    <a:pt x="192" y="686"/>
                  </a:lnTo>
                  <a:lnTo>
                    <a:pt x="184" y="670"/>
                  </a:lnTo>
                  <a:lnTo>
                    <a:pt x="168" y="682"/>
                  </a:lnTo>
                  <a:lnTo>
                    <a:pt x="130" y="648"/>
                  </a:lnTo>
                  <a:lnTo>
                    <a:pt x="110" y="652"/>
                  </a:lnTo>
                  <a:lnTo>
                    <a:pt x="98" y="638"/>
                  </a:lnTo>
                  <a:lnTo>
                    <a:pt x="66" y="660"/>
                  </a:lnTo>
                  <a:lnTo>
                    <a:pt x="54" y="644"/>
                  </a:lnTo>
                  <a:lnTo>
                    <a:pt x="42" y="662"/>
                  </a:lnTo>
                  <a:lnTo>
                    <a:pt x="14" y="636"/>
                  </a:lnTo>
                  <a:lnTo>
                    <a:pt x="34" y="620"/>
                  </a:lnTo>
                  <a:lnTo>
                    <a:pt x="34" y="602"/>
                  </a:lnTo>
                  <a:lnTo>
                    <a:pt x="0" y="568"/>
                  </a:lnTo>
                  <a:lnTo>
                    <a:pt x="32" y="530"/>
                  </a:lnTo>
                  <a:lnTo>
                    <a:pt x="84" y="534"/>
                  </a:lnTo>
                  <a:lnTo>
                    <a:pt x="102" y="518"/>
                  </a:lnTo>
                  <a:lnTo>
                    <a:pt x="130" y="520"/>
                  </a:lnTo>
                  <a:lnTo>
                    <a:pt x="146" y="490"/>
                  </a:lnTo>
                  <a:lnTo>
                    <a:pt x="150" y="434"/>
                  </a:lnTo>
                  <a:lnTo>
                    <a:pt x="108" y="336"/>
                  </a:lnTo>
                  <a:lnTo>
                    <a:pt x="118" y="312"/>
                  </a:lnTo>
                  <a:lnTo>
                    <a:pt x="136" y="312"/>
                  </a:lnTo>
                  <a:lnTo>
                    <a:pt x="136" y="288"/>
                  </a:lnTo>
                  <a:lnTo>
                    <a:pt x="90" y="266"/>
                  </a:lnTo>
                  <a:lnTo>
                    <a:pt x="86" y="224"/>
                  </a:lnTo>
                  <a:lnTo>
                    <a:pt x="98" y="208"/>
                  </a:lnTo>
                  <a:lnTo>
                    <a:pt x="82" y="182"/>
                  </a:lnTo>
                  <a:close/>
                </a:path>
              </a:pathLst>
            </a:custGeom>
            <a:solidFill>
              <a:srgbClr val="EEA420"/>
            </a:solidFill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2461" y="1702"/>
              <a:ext cx="1102" cy="556"/>
            </a:xfrm>
            <a:custGeom>
              <a:avLst/>
              <a:gdLst>
                <a:gd name="T0" fmla="*/ 989 w 1174"/>
                <a:gd name="T1" fmla="*/ 32 h 540"/>
                <a:gd name="T2" fmla="*/ 1023 w 1174"/>
                <a:gd name="T3" fmla="*/ 41 h 540"/>
                <a:gd name="T4" fmla="*/ 1059 w 1174"/>
                <a:gd name="T5" fmla="*/ 51 h 540"/>
                <a:gd name="T6" fmla="*/ 1073 w 1174"/>
                <a:gd name="T7" fmla="*/ 6 h 540"/>
                <a:gd name="T8" fmla="*/ 1094 w 1174"/>
                <a:gd name="T9" fmla="*/ 8 h 540"/>
                <a:gd name="T10" fmla="*/ 1137 w 1174"/>
                <a:gd name="T11" fmla="*/ 27 h 540"/>
                <a:gd name="T12" fmla="*/ 1073 w 1174"/>
                <a:gd name="T13" fmla="*/ 101 h 540"/>
                <a:gd name="T14" fmla="*/ 1039 w 1174"/>
                <a:gd name="T15" fmla="*/ 162 h 540"/>
                <a:gd name="T16" fmla="*/ 1090 w 1174"/>
                <a:gd name="T17" fmla="*/ 207 h 540"/>
                <a:gd name="T18" fmla="*/ 1154 w 1174"/>
                <a:gd name="T19" fmla="*/ 198 h 540"/>
                <a:gd name="T20" fmla="*/ 1171 w 1174"/>
                <a:gd name="T21" fmla="*/ 243 h 540"/>
                <a:gd name="T22" fmla="*/ 1126 w 1174"/>
                <a:gd name="T23" fmla="*/ 346 h 540"/>
                <a:gd name="T24" fmla="*/ 1104 w 1174"/>
                <a:gd name="T25" fmla="*/ 380 h 540"/>
                <a:gd name="T26" fmla="*/ 1118 w 1174"/>
                <a:gd name="T27" fmla="*/ 461 h 540"/>
                <a:gd name="T28" fmla="*/ 1039 w 1174"/>
                <a:gd name="T29" fmla="*/ 478 h 540"/>
                <a:gd name="T30" fmla="*/ 1008 w 1174"/>
                <a:gd name="T31" fmla="*/ 416 h 540"/>
                <a:gd name="T32" fmla="*/ 933 w 1174"/>
                <a:gd name="T33" fmla="*/ 416 h 540"/>
                <a:gd name="T34" fmla="*/ 842 w 1174"/>
                <a:gd name="T35" fmla="*/ 390 h 540"/>
                <a:gd name="T36" fmla="*/ 694 w 1174"/>
                <a:gd name="T37" fmla="*/ 413 h 540"/>
                <a:gd name="T38" fmla="*/ 660 w 1174"/>
                <a:gd name="T39" fmla="*/ 457 h 540"/>
                <a:gd name="T40" fmla="*/ 602 w 1174"/>
                <a:gd name="T41" fmla="*/ 486 h 540"/>
                <a:gd name="T42" fmla="*/ 513 w 1174"/>
                <a:gd name="T43" fmla="*/ 464 h 540"/>
                <a:gd name="T44" fmla="*/ 381 w 1174"/>
                <a:gd name="T45" fmla="*/ 536 h 540"/>
                <a:gd name="T46" fmla="*/ 271 w 1174"/>
                <a:gd name="T47" fmla="*/ 514 h 540"/>
                <a:gd name="T48" fmla="*/ 207 w 1174"/>
                <a:gd name="T49" fmla="*/ 492 h 540"/>
                <a:gd name="T50" fmla="*/ 151 w 1174"/>
                <a:gd name="T51" fmla="*/ 504 h 540"/>
                <a:gd name="T52" fmla="*/ 99 w 1174"/>
                <a:gd name="T53" fmla="*/ 500 h 540"/>
                <a:gd name="T54" fmla="*/ 62 w 1174"/>
                <a:gd name="T55" fmla="*/ 507 h 540"/>
                <a:gd name="T56" fmla="*/ 9 w 1174"/>
                <a:gd name="T57" fmla="*/ 514 h 540"/>
                <a:gd name="T58" fmla="*/ 62 w 1174"/>
                <a:gd name="T59" fmla="*/ 462 h 540"/>
                <a:gd name="T60" fmla="*/ 36 w 1174"/>
                <a:gd name="T61" fmla="*/ 418 h 540"/>
                <a:gd name="T62" fmla="*/ 87 w 1174"/>
                <a:gd name="T63" fmla="*/ 409 h 540"/>
                <a:gd name="T64" fmla="*/ 170 w 1174"/>
                <a:gd name="T65" fmla="*/ 353 h 540"/>
                <a:gd name="T66" fmla="*/ 154 w 1174"/>
                <a:gd name="T67" fmla="*/ 262 h 540"/>
                <a:gd name="T68" fmla="*/ 190 w 1174"/>
                <a:gd name="T69" fmla="*/ 204 h 540"/>
                <a:gd name="T70" fmla="*/ 194 w 1174"/>
                <a:gd name="T71" fmla="*/ 171 h 540"/>
                <a:gd name="T72" fmla="*/ 247 w 1174"/>
                <a:gd name="T73" fmla="*/ 185 h 540"/>
                <a:gd name="T74" fmla="*/ 245 w 1174"/>
                <a:gd name="T75" fmla="*/ 138 h 540"/>
                <a:gd name="T76" fmla="*/ 252 w 1174"/>
                <a:gd name="T77" fmla="*/ 89 h 540"/>
                <a:gd name="T78" fmla="*/ 310 w 1174"/>
                <a:gd name="T79" fmla="*/ 68 h 540"/>
                <a:gd name="T80" fmla="*/ 319 w 1174"/>
                <a:gd name="T81" fmla="*/ 18 h 540"/>
                <a:gd name="T82" fmla="*/ 358 w 1174"/>
                <a:gd name="T83" fmla="*/ 22 h 540"/>
                <a:gd name="T84" fmla="*/ 417 w 1174"/>
                <a:gd name="T85" fmla="*/ 49 h 540"/>
                <a:gd name="T86" fmla="*/ 463 w 1174"/>
                <a:gd name="T87" fmla="*/ 80 h 540"/>
                <a:gd name="T88" fmla="*/ 528 w 1174"/>
                <a:gd name="T89" fmla="*/ 92 h 540"/>
                <a:gd name="T90" fmla="*/ 557 w 1174"/>
                <a:gd name="T91" fmla="*/ 82 h 540"/>
                <a:gd name="T92" fmla="*/ 597 w 1174"/>
                <a:gd name="T93" fmla="*/ 60 h 540"/>
                <a:gd name="T94" fmla="*/ 646 w 1174"/>
                <a:gd name="T95" fmla="*/ 60 h 540"/>
                <a:gd name="T96" fmla="*/ 749 w 1174"/>
                <a:gd name="T97" fmla="*/ 58 h 540"/>
                <a:gd name="T98" fmla="*/ 833 w 1174"/>
                <a:gd name="T99" fmla="*/ 41 h 540"/>
                <a:gd name="T100" fmla="*/ 890 w 1174"/>
                <a:gd name="T101" fmla="*/ 34 h 540"/>
                <a:gd name="T102" fmla="*/ 924 w 1174"/>
                <a:gd name="T103" fmla="*/ 18 h 54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174"/>
                <a:gd name="T157" fmla="*/ 0 h 540"/>
                <a:gd name="T158" fmla="*/ 1174 w 1174"/>
                <a:gd name="T159" fmla="*/ 540 h 54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174" h="540">
                  <a:moveTo>
                    <a:pt x="984" y="18"/>
                  </a:moveTo>
                  <a:lnTo>
                    <a:pt x="989" y="32"/>
                  </a:lnTo>
                  <a:lnTo>
                    <a:pt x="1006" y="18"/>
                  </a:lnTo>
                  <a:lnTo>
                    <a:pt x="1023" y="41"/>
                  </a:lnTo>
                  <a:lnTo>
                    <a:pt x="1044" y="36"/>
                  </a:lnTo>
                  <a:lnTo>
                    <a:pt x="1059" y="51"/>
                  </a:lnTo>
                  <a:lnTo>
                    <a:pt x="1075" y="37"/>
                  </a:lnTo>
                  <a:lnTo>
                    <a:pt x="1073" y="6"/>
                  </a:lnTo>
                  <a:lnTo>
                    <a:pt x="1087" y="0"/>
                  </a:lnTo>
                  <a:lnTo>
                    <a:pt x="1094" y="8"/>
                  </a:lnTo>
                  <a:lnTo>
                    <a:pt x="1130" y="10"/>
                  </a:lnTo>
                  <a:lnTo>
                    <a:pt x="1137" y="27"/>
                  </a:lnTo>
                  <a:lnTo>
                    <a:pt x="1095" y="90"/>
                  </a:lnTo>
                  <a:lnTo>
                    <a:pt x="1073" y="101"/>
                  </a:lnTo>
                  <a:lnTo>
                    <a:pt x="1075" y="128"/>
                  </a:lnTo>
                  <a:lnTo>
                    <a:pt x="1039" y="162"/>
                  </a:lnTo>
                  <a:lnTo>
                    <a:pt x="1059" y="198"/>
                  </a:lnTo>
                  <a:lnTo>
                    <a:pt x="1090" y="207"/>
                  </a:lnTo>
                  <a:lnTo>
                    <a:pt x="1126" y="183"/>
                  </a:lnTo>
                  <a:lnTo>
                    <a:pt x="1154" y="198"/>
                  </a:lnTo>
                  <a:lnTo>
                    <a:pt x="1174" y="212"/>
                  </a:lnTo>
                  <a:lnTo>
                    <a:pt x="1171" y="243"/>
                  </a:lnTo>
                  <a:lnTo>
                    <a:pt x="1123" y="308"/>
                  </a:lnTo>
                  <a:lnTo>
                    <a:pt x="1126" y="346"/>
                  </a:lnTo>
                  <a:lnTo>
                    <a:pt x="1133" y="363"/>
                  </a:lnTo>
                  <a:lnTo>
                    <a:pt x="1104" y="380"/>
                  </a:lnTo>
                  <a:lnTo>
                    <a:pt x="1095" y="435"/>
                  </a:lnTo>
                  <a:lnTo>
                    <a:pt x="1118" y="461"/>
                  </a:lnTo>
                  <a:lnTo>
                    <a:pt x="1075" y="502"/>
                  </a:lnTo>
                  <a:lnTo>
                    <a:pt x="1039" y="478"/>
                  </a:lnTo>
                  <a:lnTo>
                    <a:pt x="1025" y="426"/>
                  </a:lnTo>
                  <a:lnTo>
                    <a:pt x="1008" y="416"/>
                  </a:lnTo>
                  <a:lnTo>
                    <a:pt x="955" y="442"/>
                  </a:lnTo>
                  <a:lnTo>
                    <a:pt x="933" y="416"/>
                  </a:lnTo>
                  <a:lnTo>
                    <a:pt x="897" y="416"/>
                  </a:lnTo>
                  <a:lnTo>
                    <a:pt x="842" y="390"/>
                  </a:lnTo>
                  <a:lnTo>
                    <a:pt x="718" y="385"/>
                  </a:lnTo>
                  <a:lnTo>
                    <a:pt x="694" y="413"/>
                  </a:lnTo>
                  <a:lnTo>
                    <a:pt x="694" y="430"/>
                  </a:lnTo>
                  <a:lnTo>
                    <a:pt x="660" y="457"/>
                  </a:lnTo>
                  <a:lnTo>
                    <a:pt x="641" y="450"/>
                  </a:lnTo>
                  <a:lnTo>
                    <a:pt x="602" y="486"/>
                  </a:lnTo>
                  <a:lnTo>
                    <a:pt x="554" y="456"/>
                  </a:lnTo>
                  <a:lnTo>
                    <a:pt x="513" y="464"/>
                  </a:lnTo>
                  <a:lnTo>
                    <a:pt x="408" y="505"/>
                  </a:lnTo>
                  <a:lnTo>
                    <a:pt x="381" y="536"/>
                  </a:lnTo>
                  <a:lnTo>
                    <a:pt x="315" y="540"/>
                  </a:lnTo>
                  <a:lnTo>
                    <a:pt x="271" y="514"/>
                  </a:lnTo>
                  <a:lnTo>
                    <a:pt x="249" y="481"/>
                  </a:lnTo>
                  <a:lnTo>
                    <a:pt x="207" y="492"/>
                  </a:lnTo>
                  <a:lnTo>
                    <a:pt x="180" y="516"/>
                  </a:lnTo>
                  <a:lnTo>
                    <a:pt x="151" y="504"/>
                  </a:lnTo>
                  <a:lnTo>
                    <a:pt x="115" y="514"/>
                  </a:lnTo>
                  <a:lnTo>
                    <a:pt x="99" y="500"/>
                  </a:lnTo>
                  <a:lnTo>
                    <a:pt x="84" y="528"/>
                  </a:lnTo>
                  <a:lnTo>
                    <a:pt x="62" y="507"/>
                  </a:lnTo>
                  <a:lnTo>
                    <a:pt x="50" y="524"/>
                  </a:lnTo>
                  <a:lnTo>
                    <a:pt x="9" y="514"/>
                  </a:lnTo>
                  <a:lnTo>
                    <a:pt x="0" y="462"/>
                  </a:lnTo>
                  <a:lnTo>
                    <a:pt x="62" y="462"/>
                  </a:lnTo>
                  <a:lnTo>
                    <a:pt x="62" y="450"/>
                  </a:lnTo>
                  <a:lnTo>
                    <a:pt x="36" y="418"/>
                  </a:lnTo>
                  <a:lnTo>
                    <a:pt x="57" y="384"/>
                  </a:lnTo>
                  <a:lnTo>
                    <a:pt x="87" y="409"/>
                  </a:lnTo>
                  <a:lnTo>
                    <a:pt x="130" y="392"/>
                  </a:lnTo>
                  <a:lnTo>
                    <a:pt x="170" y="353"/>
                  </a:lnTo>
                  <a:lnTo>
                    <a:pt x="151" y="293"/>
                  </a:lnTo>
                  <a:lnTo>
                    <a:pt x="154" y="262"/>
                  </a:lnTo>
                  <a:lnTo>
                    <a:pt x="177" y="245"/>
                  </a:lnTo>
                  <a:lnTo>
                    <a:pt x="190" y="204"/>
                  </a:lnTo>
                  <a:lnTo>
                    <a:pt x="177" y="183"/>
                  </a:lnTo>
                  <a:lnTo>
                    <a:pt x="194" y="171"/>
                  </a:lnTo>
                  <a:lnTo>
                    <a:pt x="216" y="192"/>
                  </a:lnTo>
                  <a:lnTo>
                    <a:pt x="247" y="185"/>
                  </a:lnTo>
                  <a:lnTo>
                    <a:pt x="233" y="152"/>
                  </a:lnTo>
                  <a:lnTo>
                    <a:pt x="245" y="138"/>
                  </a:lnTo>
                  <a:lnTo>
                    <a:pt x="228" y="114"/>
                  </a:lnTo>
                  <a:lnTo>
                    <a:pt x="252" y="89"/>
                  </a:lnTo>
                  <a:lnTo>
                    <a:pt x="283" y="102"/>
                  </a:lnTo>
                  <a:lnTo>
                    <a:pt x="310" y="68"/>
                  </a:lnTo>
                  <a:lnTo>
                    <a:pt x="298" y="58"/>
                  </a:lnTo>
                  <a:lnTo>
                    <a:pt x="319" y="18"/>
                  </a:lnTo>
                  <a:lnTo>
                    <a:pt x="351" y="8"/>
                  </a:lnTo>
                  <a:lnTo>
                    <a:pt x="358" y="22"/>
                  </a:lnTo>
                  <a:lnTo>
                    <a:pt x="387" y="22"/>
                  </a:lnTo>
                  <a:lnTo>
                    <a:pt x="417" y="49"/>
                  </a:lnTo>
                  <a:lnTo>
                    <a:pt x="437" y="42"/>
                  </a:lnTo>
                  <a:lnTo>
                    <a:pt x="463" y="80"/>
                  </a:lnTo>
                  <a:lnTo>
                    <a:pt x="504" y="68"/>
                  </a:lnTo>
                  <a:lnTo>
                    <a:pt x="528" y="92"/>
                  </a:lnTo>
                  <a:lnTo>
                    <a:pt x="542" y="53"/>
                  </a:lnTo>
                  <a:lnTo>
                    <a:pt x="557" y="82"/>
                  </a:lnTo>
                  <a:lnTo>
                    <a:pt x="588" y="80"/>
                  </a:lnTo>
                  <a:lnTo>
                    <a:pt x="597" y="60"/>
                  </a:lnTo>
                  <a:lnTo>
                    <a:pt x="634" y="87"/>
                  </a:lnTo>
                  <a:lnTo>
                    <a:pt x="646" y="60"/>
                  </a:lnTo>
                  <a:lnTo>
                    <a:pt x="706" y="36"/>
                  </a:lnTo>
                  <a:lnTo>
                    <a:pt x="749" y="58"/>
                  </a:lnTo>
                  <a:lnTo>
                    <a:pt x="799" y="12"/>
                  </a:lnTo>
                  <a:lnTo>
                    <a:pt x="833" y="41"/>
                  </a:lnTo>
                  <a:lnTo>
                    <a:pt x="847" y="63"/>
                  </a:lnTo>
                  <a:lnTo>
                    <a:pt x="890" y="34"/>
                  </a:lnTo>
                  <a:lnTo>
                    <a:pt x="910" y="41"/>
                  </a:lnTo>
                  <a:lnTo>
                    <a:pt x="924" y="18"/>
                  </a:lnTo>
                  <a:lnTo>
                    <a:pt x="984" y="18"/>
                  </a:lnTo>
                  <a:close/>
                </a:path>
              </a:pathLst>
            </a:custGeom>
            <a:solidFill>
              <a:srgbClr val="EEA420"/>
            </a:solidFill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2739" y="1948"/>
              <a:ext cx="208" cy="218"/>
            </a:xfrm>
            <a:custGeom>
              <a:avLst/>
              <a:gdLst>
                <a:gd name="T0" fmla="*/ 0 w 222"/>
                <a:gd name="T1" fmla="*/ 142 h 212"/>
                <a:gd name="T2" fmla="*/ 34 w 222"/>
                <a:gd name="T3" fmla="*/ 96 h 212"/>
                <a:gd name="T4" fmla="*/ 28 w 222"/>
                <a:gd name="T5" fmla="*/ 64 h 212"/>
                <a:gd name="T6" fmla="*/ 50 w 222"/>
                <a:gd name="T7" fmla="*/ 42 h 212"/>
                <a:gd name="T8" fmla="*/ 56 w 222"/>
                <a:gd name="T9" fmla="*/ 28 h 212"/>
                <a:gd name="T10" fmla="*/ 72 w 222"/>
                <a:gd name="T11" fmla="*/ 26 h 212"/>
                <a:gd name="T12" fmla="*/ 96 w 222"/>
                <a:gd name="T13" fmla="*/ 4 h 212"/>
                <a:gd name="T14" fmla="*/ 160 w 222"/>
                <a:gd name="T15" fmla="*/ 0 h 212"/>
                <a:gd name="T16" fmla="*/ 180 w 222"/>
                <a:gd name="T17" fmla="*/ 24 h 212"/>
                <a:gd name="T18" fmla="*/ 174 w 222"/>
                <a:gd name="T19" fmla="*/ 54 h 212"/>
                <a:gd name="T20" fmla="*/ 220 w 222"/>
                <a:gd name="T21" fmla="*/ 106 h 212"/>
                <a:gd name="T22" fmla="*/ 222 w 222"/>
                <a:gd name="T23" fmla="*/ 166 h 212"/>
                <a:gd name="T24" fmla="*/ 198 w 222"/>
                <a:gd name="T25" fmla="*/ 194 h 212"/>
                <a:gd name="T26" fmla="*/ 170 w 222"/>
                <a:gd name="T27" fmla="*/ 186 h 212"/>
                <a:gd name="T28" fmla="*/ 142 w 222"/>
                <a:gd name="T29" fmla="*/ 206 h 212"/>
                <a:gd name="T30" fmla="*/ 116 w 222"/>
                <a:gd name="T31" fmla="*/ 212 h 212"/>
                <a:gd name="T32" fmla="*/ 96 w 222"/>
                <a:gd name="T33" fmla="*/ 186 h 212"/>
                <a:gd name="T34" fmla="*/ 78 w 222"/>
                <a:gd name="T35" fmla="*/ 188 h 212"/>
                <a:gd name="T36" fmla="*/ 64 w 222"/>
                <a:gd name="T37" fmla="*/ 166 h 212"/>
                <a:gd name="T38" fmla="*/ 66 w 222"/>
                <a:gd name="T39" fmla="*/ 150 h 212"/>
                <a:gd name="T40" fmla="*/ 58 w 222"/>
                <a:gd name="T41" fmla="*/ 136 h 212"/>
                <a:gd name="T42" fmla="*/ 36 w 222"/>
                <a:gd name="T43" fmla="*/ 142 h 212"/>
                <a:gd name="T44" fmla="*/ 22 w 222"/>
                <a:gd name="T45" fmla="*/ 156 h 212"/>
                <a:gd name="T46" fmla="*/ 8 w 222"/>
                <a:gd name="T47" fmla="*/ 158 h 212"/>
                <a:gd name="T48" fmla="*/ 0 w 222"/>
                <a:gd name="T49" fmla="*/ 142 h 21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22"/>
                <a:gd name="T76" fmla="*/ 0 h 212"/>
                <a:gd name="T77" fmla="*/ 222 w 222"/>
                <a:gd name="T78" fmla="*/ 212 h 21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22" h="212">
                  <a:moveTo>
                    <a:pt x="0" y="142"/>
                  </a:moveTo>
                  <a:lnTo>
                    <a:pt x="34" y="96"/>
                  </a:lnTo>
                  <a:lnTo>
                    <a:pt x="28" y="64"/>
                  </a:lnTo>
                  <a:lnTo>
                    <a:pt x="50" y="42"/>
                  </a:lnTo>
                  <a:lnTo>
                    <a:pt x="56" y="28"/>
                  </a:lnTo>
                  <a:lnTo>
                    <a:pt x="72" y="26"/>
                  </a:lnTo>
                  <a:lnTo>
                    <a:pt x="96" y="4"/>
                  </a:lnTo>
                  <a:lnTo>
                    <a:pt x="160" y="0"/>
                  </a:lnTo>
                  <a:lnTo>
                    <a:pt x="180" y="24"/>
                  </a:lnTo>
                  <a:lnTo>
                    <a:pt x="174" y="54"/>
                  </a:lnTo>
                  <a:lnTo>
                    <a:pt x="220" y="106"/>
                  </a:lnTo>
                  <a:lnTo>
                    <a:pt x="222" y="166"/>
                  </a:lnTo>
                  <a:lnTo>
                    <a:pt x="198" y="194"/>
                  </a:lnTo>
                  <a:lnTo>
                    <a:pt x="170" y="186"/>
                  </a:lnTo>
                  <a:lnTo>
                    <a:pt x="142" y="206"/>
                  </a:lnTo>
                  <a:lnTo>
                    <a:pt x="116" y="212"/>
                  </a:lnTo>
                  <a:lnTo>
                    <a:pt x="96" y="186"/>
                  </a:lnTo>
                  <a:lnTo>
                    <a:pt x="78" y="188"/>
                  </a:lnTo>
                  <a:lnTo>
                    <a:pt x="64" y="166"/>
                  </a:lnTo>
                  <a:lnTo>
                    <a:pt x="66" y="150"/>
                  </a:lnTo>
                  <a:lnTo>
                    <a:pt x="58" y="136"/>
                  </a:lnTo>
                  <a:lnTo>
                    <a:pt x="36" y="142"/>
                  </a:lnTo>
                  <a:lnTo>
                    <a:pt x="22" y="156"/>
                  </a:lnTo>
                  <a:lnTo>
                    <a:pt x="8" y="158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EEA420"/>
            </a:solidFill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3383" y="1338"/>
              <a:ext cx="743" cy="886"/>
            </a:xfrm>
            <a:custGeom>
              <a:avLst/>
              <a:gdLst>
                <a:gd name="T0" fmla="*/ 234 w 792"/>
                <a:gd name="T1" fmla="*/ 42 h 860"/>
                <a:gd name="T2" fmla="*/ 416 w 792"/>
                <a:gd name="T3" fmla="*/ 44 h 860"/>
                <a:gd name="T4" fmla="*/ 456 w 792"/>
                <a:gd name="T5" fmla="*/ 0 h 860"/>
                <a:gd name="T6" fmla="*/ 486 w 792"/>
                <a:gd name="T7" fmla="*/ 0 h 860"/>
                <a:gd name="T8" fmla="*/ 518 w 792"/>
                <a:gd name="T9" fmla="*/ 56 h 860"/>
                <a:gd name="T10" fmla="*/ 518 w 792"/>
                <a:gd name="T11" fmla="*/ 88 h 860"/>
                <a:gd name="T12" fmla="*/ 790 w 792"/>
                <a:gd name="T13" fmla="*/ 226 h 860"/>
                <a:gd name="T14" fmla="*/ 792 w 792"/>
                <a:gd name="T15" fmla="*/ 262 h 860"/>
                <a:gd name="T16" fmla="*/ 654 w 792"/>
                <a:gd name="T17" fmla="*/ 566 h 860"/>
                <a:gd name="T18" fmla="*/ 650 w 792"/>
                <a:gd name="T19" fmla="*/ 714 h 860"/>
                <a:gd name="T20" fmla="*/ 618 w 792"/>
                <a:gd name="T21" fmla="*/ 736 h 860"/>
                <a:gd name="T22" fmla="*/ 612 w 792"/>
                <a:gd name="T23" fmla="*/ 758 h 860"/>
                <a:gd name="T24" fmla="*/ 584 w 792"/>
                <a:gd name="T25" fmla="*/ 756 h 860"/>
                <a:gd name="T26" fmla="*/ 576 w 792"/>
                <a:gd name="T27" fmla="*/ 740 h 860"/>
                <a:gd name="T28" fmla="*/ 496 w 792"/>
                <a:gd name="T29" fmla="*/ 778 h 860"/>
                <a:gd name="T30" fmla="*/ 468 w 792"/>
                <a:gd name="T31" fmla="*/ 824 h 860"/>
                <a:gd name="T32" fmla="*/ 442 w 792"/>
                <a:gd name="T33" fmla="*/ 810 h 860"/>
                <a:gd name="T34" fmla="*/ 410 w 792"/>
                <a:gd name="T35" fmla="*/ 836 h 860"/>
                <a:gd name="T36" fmla="*/ 338 w 792"/>
                <a:gd name="T37" fmla="*/ 786 h 860"/>
                <a:gd name="T38" fmla="*/ 300 w 792"/>
                <a:gd name="T39" fmla="*/ 826 h 860"/>
                <a:gd name="T40" fmla="*/ 240 w 792"/>
                <a:gd name="T41" fmla="*/ 840 h 860"/>
                <a:gd name="T42" fmla="*/ 194 w 792"/>
                <a:gd name="T43" fmla="*/ 830 h 860"/>
                <a:gd name="T44" fmla="*/ 162 w 792"/>
                <a:gd name="T45" fmla="*/ 860 h 860"/>
                <a:gd name="T46" fmla="*/ 118 w 792"/>
                <a:gd name="T47" fmla="*/ 832 h 860"/>
                <a:gd name="T48" fmla="*/ 130 w 792"/>
                <a:gd name="T49" fmla="*/ 810 h 860"/>
                <a:gd name="T50" fmla="*/ 112 w 792"/>
                <a:gd name="T51" fmla="*/ 784 h 860"/>
                <a:gd name="T52" fmla="*/ 122 w 792"/>
                <a:gd name="T53" fmla="*/ 728 h 860"/>
                <a:gd name="T54" fmla="*/ 150 w 792"/>
                <a:gd name="T55" fmla="*/ 716 h 860"/>
                <a:gd name="T56" fmla="*/ 142 w 792"/>
                <a:gd name="T57" fmla="*/ 658 h 860"/>
                <a:gd name="T58" fmla="*/ 188 w 792"/>
                <a:gd name="T59" fmla="*/ 596 h 860"/>
                <a:gd name="T60" fmla="*/ 190 w 792"/>
                <a:gd name="T61" fmla="*/ 560 h 860"/>
                <a:gd name="T62" fmla="*/ 142 w 792"/>
                <a:gd name="T63" fmla="*/ 542 h 860"/>
                <a:gd name="T64" fmla="*/ 108 w 792"/>
                <a:gd name="T65" fmla="*/ 564 h 860"/>
                <a:gd name="T66" fmla="*/ 74 w 792"/>
                <a:gd name="T67" fmla="*/ 554 h 860"/>
                <a:gd name="T68" fmla="*/ 52 w 792"/>
                <a:gd name="T69" fmla="*/ 512 h 860"/>
                <a:gd name="T70" fmla="*/ 86 w 792"/>
                <a:gd name="T71" fmla="*/ 478 h 860"/>
                <a:gd name="T72" fmla="*/ 84 w 792"/>
                <a:gd name="T73" fmla="*/ 450 h 860"/>
                <a:gd name="T74" fmla="*/ 114 w 792"/>
                <a:gd name="T75" fmla="*/ 438 h 860"/>
                <a:gd name="T76" fmla="*/ 148 w 792"/>
                <a:gd name="T77" fmla="*/ 382 h 860"/>
                <a:gd name="T78" fmla="*/ 142 w 792"/>
                <a:gd name="T79" fmla="*/ 364 h 860"/>
                <a:gd name="T80" fmla="*/ 114 w 792"/>
                <a:gd name="T81" fmla="*/ 366 h 860"/>
                <a:gd name="T82" fmla="*/ 94 w 792"/>
                <a:gd name="T83" fmla="*/ 354 h 860"/>
                <a:gd name="T84" fmla="*/ 90 w 792"/>
                <a:gd name="T85" fmla="*/ 378 h 860"/>
                <a:gd name="T86" fmla="*/ 86 w 792"/>
                <a:gd name="T87" fmla="*/ 402 h 860"/>
                <a:gd name="T88" fmla="*/ 60 w 792"/>
                <a:gd name="T89" fmla="*/ 388 h 860"/>
                <a:gd name="T90" fmla="*/ 42 w 792"/>
                <a:gd name="T91" fmla="*/ 396 h 860"/>
                <a:gd name="T92" fmla="*/ 20 w 792"/>
                <a:gd name="T93" fmla="*/ 376 h 860"/>
                <a:gd name="T94" fmla="*/ 0 w 792"/>
                <a:gd name="T95" fmla="*/ 382 h 860"/>
                <a:gd name="T96" fmla="*/ 0 w 792"/>
                <a:gd name="T97" fmla="*/ 354 h 860"/>
                <a:gd name="T98" fmla="*/ 30 w 792"/>
                <a:gd name="T99" fmla="*/ 318 h 860"/>
                <a:gd name="T100" fmla="*/ 54 w 792"/>
                <a:gd name="T101" fmla="*/ 322 h 860"/>
                <a:gd name="T102" fmla="*/ 90 w 792"/>
                <a:gd name="T103" fmla="*/ 302 h 860"/>
                <a:gd name="T104" fmla="*/ 132 w 792"/>
                <a:gd name="T105" fmla="*/ 248 h 860"/>
                <a:gd name="T106" fmla="*/ 186 w 792"/>
                <a:gd name="T107" fmla="*/ 258 h 860"/>
                <a:gd name="T108" fmla="*/ 214 w 792"/>
                <a:gd name="T109" fmla="*/ 222 h 860"/>
                <a:gd name="T110" fmla="*/ 240 w 792"/>
                <a:gd name="T111" fmla="*/ 228 h 860"/>
                <a:gd name="T112" fmla="*/ 264 w 792"/>
                <a:gd name="T113" fmla="*/ 204 h 860"/>
                <a:gd name="T114" fmla="*/ 260 w 792"/>
                <a:gd name="T115" fmla="*/ 164 h 860"/>
                <a:gd name="T116" fmla="*/ 208 w 792"/>
                <a:gd name="T117" fmla="*/ 118 h 860"/>
                <a:gd name="T118" fmla="*/ 234 w 792"/>
                <a:gd name="T119" fmla="*/ 42 h 86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92"/>
                <a:gd name="T181" fmla="*/ 0 h 860"/>
                <a:gd name="T182" fmla="*/ 792 w 792"/>
                <a:gd name="T183" fmla="*/ 860 h 86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92" h="860">
                  <a:moveTo>
                    <a:pt x="234" y="42"/>
                  </a:moveTo>
                  <a:lnTo>
                    <a:pt x="416" y="44"/>
                  </a:lnTo>
                  <a:lnTo>
                    <a:pt x="456" y="0"/>
                  </a:lnTo>
                  <a:lnTo>
                    <a:pt x="486" y="0"/>
                  </a:lnTo>
                  <a:lnTo>
                    <a:pt x="518" y="56"/>
                  </a:lnTo>
                  <a:lnTo>
                    <a:pt x="518" y="88"/>
                  </a:lnTo>
                  <a:lnTo>
                    <a:pt x="790" y="226"/>
                  </a:lnTo>
                  <a:lnTo>
                    <a:pt x="792" y="262"/>
                  </a:lnTo>
                  <a:lnTo>
                    <a:pt x="654" y="566"/>
                  </a:lnTo>
                  <a:lnTo>
                    <a:pt x="650" y="714"/>
                  </a:lnTo>
                  <a:lnTo>
                    <a:pt x="618" y="736"/>
                  </a:lnTo>
                  <a:lnTo>
                    <a:pt x="612" y="758"/>
                  </a:lnTo>
                  <a:lnTo>
                    <a:pt x="584" y="756"/>
                  </a:lnTo>
                  <a:lnTo>
                    <a:pt x="576" y="740"/>
                  </a:lnTo>
                  <a:lnTo>
                    <a:pt x="496" y="778"/>
                  </a:lnTo>
                  <a:lnTo>
                    <a:pt x="468" y="824"/>
                  </a:lnTo>
                  <a:lnTo>
                    <a:pt x="442" y="810"/>
                  </a:lnTo>
                  <a:lnTo>
                    <a:pt x="410" y="836"/>
                  </a:lnTo>
                  <a:lnTo>
                    <a:pt x="338" y="786"/>
                  </a:lnTo>
                  <a:lnTo>
                    <a:pt x="300" y="826"/>
                  </a:lnTo>
                  <a:lnTo>
                    <a:pt x="240" y="840"/>
                  </a:lnTo>
                  <a:lnTo>
                    <a:pt x="194" y="830"/>
                  </a:lnTo>
                  <a:lnTo>
                    <a:pt x="162" y="860"/>
                  </a:lnTo>
                  <a:lnTo>
                    <a:pt x="118" y="832"/>
                  </a:lnTo>
                  <a:lnTo>
                    <a:pt x="130" y="810"/>
                  </a:lnTo>
                  <a:lnTo>
                    <a:pt x="112" y="784"/>
                  </a:lnTo>
                  <a:lnTo>
                    <a:pt x="122" y="728"/>
                  </a:lnTo>
                  <a:lnTo>
                    <a:pt x="150" y="716"/>
                  </a:lnTo>
                  <a:lnTo>
                    <a:pt x="142" y="658"/>
                  </a:lnTo>
                  <a:lnTo>
                    <a:pt x="188" y="596"/>
                  </a:lnTo>
                  <a:lnTo>
                    <a:pt x="190" y="560"/>
                  </a:lnTo>
                  <a:lnTo>
                    <a:pt x="142" y="542"/>
                  </a:lnTo>
                  <a:lnTo>
                    <a:pt x="108" y="564"/>
                  </a:lnTo>
                  <a:lnTo>
                    <a:pt x="74" y="554"/>
                  </a:lnTo>
                  <a:lnTo>
                    <a:pt x="52" y="512"/>
                  </a:lnTo>
                  <a:lnTo>
                    <a:pt x="86" y="478"/>
                  </a:lnTo>
                  <a:lnTo>
                    <a:pt x="84" y="450"/>
                  </a:lnTo>
                  <a:lnTo>
                    <a:pt x="114" y="438"/>
                  </a:lnTo>
                  <a:lnTo>
                    <a:pt x="148" y="382"/>
                  </a:lnTo>
                  <a:lnTo>
                    <a:pt x="142" y="364"/>
                  </a:lnTo>
                  <a:lnTo>
                    <a:pt x="114" y="366"/>
                  </a:lnTo>
                  <a:lnTo>
                    <a:pt x="94" y="354"/>
                  </a:lnTo>
                  <a:lnTo>
                    <a:pt x="90" y="378"/>
                  </a:lnTo>
                  <a:lnTo>
                    <a:pt x="86" y="402"/>
                  </a:lnTo>
                  <a:lnTo>
                    <a:pt x="60" y="388"/>
                  </a:lnTo>
                  <a:lnTo>
                    <a:pt x="42" y="396"/>
                  </a:lnTo>
                  <a:lnTo>
                    <a:pt x="20" y="376"/>
                  </a:lnTo>
                  <a:lnTo>
                    <a:pt x="0" y="382"/>
                  </a:lnTo>
                  <a:lnTo>
                    <a:pt x="0" y="354"/>
                  </a:lnTo>
                  <a:lnTo>
                    <a:pt x="30" y="318"/>
                  </a:lnTo>
                  <a:lnTo>
                    <a:pt x="54" y="322"/>
                  </a:lnTo>
                  <a:lnTo>
                    <a:pt x="90" y="302"/>
                  </a:lnTo>
                  <a:lnTo>
                    <a:pt x="132" y="248"/>
                  </a:lnTo>
                  <a:lnTo>
                    <a:pt x="186" y="258"/>
                  </a:lnTo>
                  <a:lnTo>
                    <a:pt x="214" y="222"/>
                  </a:lnTo>
                  <a:lnTo>
                    <a:pt x="240" y="228"/>
                  </a:lnTo>
                  <a:lnTo>
                    <a:pt x="264" y="204"/>
                  </a:lnTo>
                  <a:lnTo>
                    <a:pt x="260" y="164"/>
                  </a:lnTo>
                  <a:lnTo>
                    <a:pt x="208" y="118"/>
                  </a:lnTo>
                  <a:lnTo>
                    <a:pt x="234" y="42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3386" y="2073"/>
              <a:ext cx="1159" cy="933"/>
            </a:xfrm>
            <a:custGeom>
              <a:avLst/>
              <a:gdLst>
                <a:gd name="T0" fmla="*/ 10 w 1234"/>
                <a:gd name="T1" fmla="*/ 114 h 906"/>
                <a:gd name="T2" fmla="*/ 12 w 1234"/>
                <a:gd name="T3" fmla="*/ 164 h 906"/>
                <a:gd name="T4" fmla="*/ 4 w 1234"/>
                <a:gd name="T5" fmla="*/ 228 h 906"/>
                <a:gd name="T6" fmla="*/ 46 w 1234"/>
                <a:gd name="T7" fmla="*/ 304 h 906"/>
                <a:gd name="T8" fmla="*/ 64 w 1234"/>
                <a:gd name="T9" fmla="*/ 388 h 906"/>
                <a:gd name="T10" fmla="*/ 138 w 1234"/>
                <a:gd name="T11" fmla="*/ 442 h 906"/>
                <a:gd name="T12" fmla="*/ 192 w 1234"/>
                <a:gd name="T13" fmla="*/ 466 h 906"/>
                <a:gd name="T14" fmla="*/ 212 w 1234"/>
                <a:gd name="T15" fmla="*/ 510 h 906"/>
                <a:gd name="T16" fmla="*/ 208 w 1234"/>
                <a:gd name="T17" fmla="*/ 558 h 906"/>
                <a:gd name="T18" fmla="*/ 252 w 1234"/>
                <a:gd name="T19" fmla="*/ 576 h 906"/>
                <a:gd name="T20" fmla="*/ 278 w 1234"/>
                <a:gd name="T21" fmla="*/ 630 h 906"/>
                <a:gd name="T22" fmla="*/ 376 w 1234"/>
                <a:gd name="T23" fmla="*/ 604 h 906"/>
                <a:gd name="T24" fmla="*/ 382 w 1234"/>
                <a:gd name="T25" fmla="*/ 548 h 906"/>
                <a:gd name="T26" fmla="*/ 440 w 1234"/>
                <a:gd name="T27" fmla="*/ 566 h 906"/>
                <a:gd name="T28" fmla="*/ 490 w 1234"/>
                <a:gd name="T29" fmla="*/ 580 h 906"/>
                <a:gd name="T30" fmla="*/ 546 w 1234"/>
                <a:gd name="T31" fmla="*/ 578 h 906"/>
                <a:gd name="T32" fmla="*/ 662 w 1234"/>
                <a:gd name="T33" fmla="*/ 632 h 906"/>
                <a:gd name="T34" fmla="*/ 652 w 1234"/>
                <a:gd name="T35" fmla="*/ 696 h 906"/>
                <a:gd name="T36" fmla="*/ 688 w 1234"/>
                <a:gd name="T37" fmla="*/ 712 h 906"/>
                <a:gd name="T38" fmla="*/ 672 w 1234"/>
                <a:gd name="T39" fmla="*/ 758 h 906"/>
                <a:gd name="T40" fmla="*/ 686 w 1234"/>
                <a:gd name="T41" fmla="*/ 794 h 906"/>
                <a:gd name="T42" fmla="*/ 802 w 1234"/>
                <a:gd name="T43" fmla="*/ 756 h 906"/>
                <a:gd name="T44" fmla="*/ 802 w 1234"/>
                <a:gd name="T45" fmla="*/ 698 h 906"/>
                <a:gd name="T46" fmla="*/ 810 w 1234"/>
                <a:gd name="T47" fmla="*/ 660 h 906"/>
                <a:gd name="T48" fmla="*/ 862 w 1234"/>
                <a:gd name="T49" fmla="*/ 672 h 906"/>
                <a:gd name="T50" fmla="*/ 938 w 1234"/>
                <a:gd name="T51" fmla="*/ 704 h 906"/>
                <a:gd name="T52" fmla="*/ 940 w 1234"/>
                <a:gd name="T53" fmla="*/ 794 h 906"/>
                <a:gd name="T54" fmla="*/ 950 w 1234"/>
                <a:gd name="T55" fmla="*/ 866 h 906"/>
                <a:gd name="T56" fmla="*/ 984 w 1234"/>
                <a:gd name="T57" fmla="*/ 906 h 906"/>
                <a:gd name="T58" fmla="*/ 1072 w 1234"/>
                <a:gd name="T59" fmla="*/ 892 h 906"/>
                <a:gd name="T60" fmla="*/ 1234 w 1234"/>
                <a:gd name="T61" fmla="*/ 680 h 906"/>
                <a:gd name="T62" fmla="*/ 1088 w 1234"/>
                <a:gd name="T63" fmla="*/ 450 h 906"/>
                <a:gd name="T64" fmla="*/ 1136 w 1234"/>
                <a:gd name="T65" fmla="*/ 270 h 906"/>
                <a:gd name="T66" fmla="*/ 644 w 1234"/>
                <a:gd name="T67" fmla="*/ 72 h 906"/>
                <a:gd name="T68" fmla="*/ 612 w 1234"/>
                <a:gd name="T69" fmla="*/ 16 h 906"/>
                <a:gd name="T70" fmla="*/ 580 w 1234"/>
                <a:gd name="T71" fmla="*/ 42 h 906"/>
                <a:gd name="T72" fmla="*/ 488 w 1234"/>
                <a:gd name="T73" fmla="*/ 64 h 906"/>
                <a:gd name="T74" fmla="*/ 436 w 1234"/>
                <a:gd name="T75" fmla="*/ 92 h 906"/>
                <a:gd name="T76" fmla="*/ 332 w 1234"/>
                <a:gd name="T77" fmla="*/ 70 h 906"/>
                <a:gd name="T78" fmla="*/ 238 w 1234"/>
                <a:gd name="T79" fmla="*/ 124 h 906"/>
                <a:gd name="T80" fmla="*/ 152 w 1234"/>
                <a:gd name="T81" fmla="*/ 138 h 906"/>
                <a:gd name="T82" fmla="*/ 86 w 1234"/>
                <a:gd name="T83" fmla="*/ 134 h 906"/>
                <a:gd name="T84" fmla="*/ 36 w 1234"/>
                <a:gd name="T85" fmla="*/ 72 h 90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34"/>
                <a:gd name="T130" fmla="*/ 0 h 906"/>
                <a:gd name="T131" fmla="*/ 1234 w 1234"/>
                <a:gd name="T132" fmla="*/ 906 h 90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34" h="906">
                  <a:moveTo>
                    <a:pt x="36" y="72"/>
                  </a:moveTo>
                  <a:lnTo>
                    <a:pt x="10" y="114"/>
                  </a:lnTo>
                  <a:lnTo>
                    <a:pt x="30" y="138"/>
                  </a:lnTo>
                  <a:lnTo>
                    <a:pt x="12" y="164"/>
                  </a:lnTo>
                  <a:lnTo>
                    <a:pt x="18" y="192"/>
                  </a:lnTo>
                  <a:lnTo>
                    <a:pt x="4" y="228"/>
                  </a:lnTo>
                  <a:lnTo>
                    <a:pt x="0" y="266"/>
                  </a:lnTo>
                  <a:lnTo>
                    <a:pt x="46" y="304"/>
                  </a:lnTo>
                  <a:lnTo>
                    <a:pt x="64" y="370"/>
                  </a:lnTo>
                  <a:lnTo>
                    <a:pt x="64" y="388"/>
                  </a:lnTo>
                  <a:lnTo>
                    <a:pt x="92" y="394"/>
                  </a:lnTo>
                  <a:lnTo>
                    <a:pt x="138" y="442"/>
                  </a:lnTo>
                  <a:lnTo>
                    <a:pt x="180" y="482"/>
                  </a:lnTo>
                  <a:lnTo>
                    <a:pt x="192" y="466"/>
                  </a:lnTo>
                  <a:lnTo>
                    <a:pt x="212" y="486"/>
                  </a:lnTo>
                  <a:lnTo>
                    <a:pt x="212" y="510"/>
                  </a:lnTo>
                  <a:lnTo>
                    <a:pt x="242" y="530"/>
                  </a:lnTo>
                  <a:lnTo>
                    <a:pt x="208" y="558"/>
                  </a:lnTo>
                  <a:lnTo>
                    <a:pt x="236" y="580"/>
                  </a:lnTo>
                  <a:lnTo>
                    <a:pt x="252" y="576"/>
                  </a:lnTo>
                  <a:lnTo>
                    <a:pt x="276" y="604"/>
                  </a:lnTo>
                  <a:lnTo>
                    <a:pt x="278" y="630"/>
                  </a:lnTo>
                  <a:lnTo>
                    <a:pt x="364" y="602"/>
                  </a:lnTo>
                  <a:lnTo>
                    <a:pt x="376" y="604"/>
                  </a:lnTo>
                  <a:lnTo>
                    <a:pt x="404" y="572"/>
                  </a:lnTo>
                  <a:lnTo>
                    <a:pt x="382" y="548"/>
                  </a:lnTo>
                  <a:lnTo>
                    <a:pt x="398" y="534"/>
                  </a:lnTo>
                  <a:lnTo>
                    <a:pt x="440" y="566"/>
                  </a:lnTo>
                  <a:lnTo>
                    <a:pt x="470" y="550"/>
                  </a:lnTo>
                  <a:lnTo>
                    <a:pt x="490" y="580"/>
                  </a:lnTo>
                  <a:lnTo>
                    <a:pt x="512" y="598"/>
                  </a:lnTo>
                  <a:lnTo>
                    <a:pt x="546" y="578"/>
                  </a:lnTo>
                  <a:lnTo>
                    <a:pt x="640" y="648"/>
                  </a:lnTo>
                  <a:lnTo>
                    <a:pt x="662" y="632"/>
                  </a:lnTo>
                  <a:lnTo>
                    <a:pt x="680" y="648"/>
                  </a:lnTo>
                  <a:lnTo>
                    <a:pt x="652" y="696"/>
                  </a:lnTo>
                  <a:lnTo>
                    <a:pt x="674" y="724"/>
                  </a:lnTo>
                  <a:lnTo>
                    <a:pt x="688" y="712"/>
                  </a:lnTo>
                  <a:lnTo>
                    <a:pt x="698" y="730"/>
                  </a:lnTo>
                  <a:lnTo>
                    <a:pt x="672" y="758"/>
                  </a:lnTo>
                  <a:lnTo>
                    <a:pt x="668" y="784"/>
                  </a:lnTo>
                  <a:lnTo>
                    <a:pt x="686" y="794"/>
                  </a:lnTo>
                  <a:lnTo>
                    <a:pt x="780" y="772"/>
                  </a:lnTo>
                  <a:lnTo>
                    <a:pt x="802" y="756"/>
                  </a:lnTo>
                  <a:lnTo>
                    <a:pt x="784" y="736"/>
                  </a:lnTo>
                  <a:lnTo>
                    <a:pt x="802" y="698"/>
                  </a:lnTo>
                  <a:lnTo>
                    <a:pt x="780" y="676"/>
                  </a:lnTo>
                  <a:lnTo>
                    <a:pt x="810" y="660"/>
                  </a:lnTo>
                  <a:lnTo>
                    <a:pt x="836" y="676"/>
                  </a:lnTo>
                  <a:lnTo>
                    <a:pt x="862" y="672"/>
                  </a:lnTo>
                  <a:lnTo>
                    <a:pt x="872" y="662"/>
                  </a:lnTo>
                  <a:lnTo>
                    <a:pt x="938" y="704"/>
                  </a:lnTo>
                  <a:lnTo>
                    <a:pt x="928" y="756"/>
                  </a:lnTo>
                  <a:lnTo>
                    <a:pt x="940" y="794"/>
                  </a:lnTo>
                  <a:lnTo>
                    <a:pt x="926" y="832"/>
                  </a:lnTo>
                  <a:lnTo>
                    <a:pt x="950" y="866"/>
                  </a:lnTo>
                  <a:lnTo>
                    <a:pt x="936" y="898"/>
                  </a:lnTo>
                  <a:lnTo>
                    <a:pt x="984" y="906"/>
                  </a:lnTo>
                  <a:lnTo>
                    <a:pt x="1008" y="890"/>
                  </a:lnTo>
                  <a:lnTo>
                    <a:pt x="1072" y="892"/>
                  </a:lnTo>
                  <a:lnTo>
                    <a:pt x="1078" y="782"/>
                  </a:lnTo>
                  <a:lnTo>
                    <a:pt x="1234" y="680"/>
                  </a:lnTo>
                  <a:lnTo>
                    <a:pt x="1128" y="452"/>
                  </a:lnTo>
                  <a:lnTo>
                    <a:pt x="1088" y="450"/>
                  </a:lnTo>
                  <a:lnTo>
                    <a:pt x="1042" y="366"/>
                  </a:lnTo>
                  <a:lnTo>
                    <a:pt x="1136" y="270"/>
                  </a:lnTo>
                  <a:lnTo>
                    <a:pt x="918" y="62"/>
                  </a:lnTo>
                  <a:lnTo>
                    <a:pt x="644" y="72"/>
                  </a:lnTo>
                  <a:lnTo>
                    <a:pt x="646" y="0"/>
                  </a:lnTo>
                  <a:lnTo>
                    <a:pt x="612" y="16"/>
                  </a:lnTo>
                  <a:lnTo>
                    <a:pt x="608" y="44"/>
                  </a:lnTo>
                  <a:lnTo>
                    <a:pt x="580" y="42"/>
                  </a:lnTo>
                  <a:lnTo>
                    <a:pt x="574" y="26"/>
                  </a:lnTo>
                  <a:lnTo>
                    <a:pt x="488" y="64"/>
                  </a:lnTo>
                  <a:lnTo>
                    <a:pt x="468" y="106"/>
                  </a:lnTo>
                  <a:lnTo>
                    <a:pt x="436" y="92"/>
                  </a:lnTo>
                  <a:lnTo>
                    <a:pt x="404" y="122"/>
                  </a:lnTo>
                  <a:lnTo>
                    <a:pt x="332" y="70"/>
                  </a:lnTo>
                  <a:lnTo>
                    <a:pt x="298" y="110"/>
                  </a:lnTo>
                  <a:lnTo>
                    <a:pt x="238" y="124"/>
                  </a:lnTo>
                  <a:lnTo>
                    <a:pt x="184" y="110"/>
                  </a:lnTo>
                  <a:lnTo>
                    <a:pt x="152" y="138"/>
                  </a:lnTo>
                  <a:lnTo>
                    <a:pt x="110" y="114"/>
                  </a:lnTo>
                  <a:lnTo>
                    <a:pt x="86" y="134"/>
                  </a:lnTo>
                  <a:lnTo>
                    <a:pt x="50" y="114"/>
                  </a:lnTo>
                  <a:lnTo>
                    <a:pt x="36" y="72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2793" y="2298"/>
              <a:ext cx="952" cy="1276"/>
            </a:xfrm>
            <a:custGeom>
              <a:avLst/>
              <a:gdLst>
                <a:gd name="T0" fmla="*/ 182 w 1014"/>
                <a:gd name="T1" fmla="*/ 1036 h 1240"/>
                <a:gd name="T2" fmla="*/ 380 w 1014"/>
                <a:gd name="T3" fmla="*/ 820 h 1240"/>
                <a:gd name="T4" fmla="*/ 478 w 1014"/>
                <a:gd name="T5" fmla="*/ 982 h 1240"/>
                <a:gd name="T6" fmla="*/ 518 w 1014"/>
                <a:gd name="T7" fmla="*/ 1214 h 1240"/>
                <a:gd name="T8" fmla="*/ 634 w 1014"/>
                <a:gd name="T9" fmla="*/ 1240 h 1240"/>
                <a:gd name="T10" fmla="*/ 636 w 1014"/>
                <a:gd name="T11" fmla="*/ 1158 h 1240"/>
                <a:gd name="T12" fmla="*/ 734 w 1014"/>
                <a:gd name="T13" fmla="*/ 994 h 1240"/>
                <a:gd name="T14" fmla="*/ 670 w 1014"/>
                <a:gd name="T15" fmla="*/ 972 h 1240"/>
                <a:gd name="T16" fmla="*/ 704 w 1014"/>
                <a:gd name="T17" fmla="*/ 844 h 1240"/>
                <a:gd name="T18" fmla="*/ 788 w 1014"/>
                <a:gd name="T19" fmla="*/ 804 h 1240"/>
                <a:gd name="T20" fmla="*/ 866 w 1014"/>
                <a:gd name="T21" fmla="*/ 748 h 1240"/>
                <a:gd name="T22" fmla="*/ 840 w 1014"/>
                <a:gd name="T23" fmla="*/ 626 h 1240"/>
                <a:gd name="T24" fmla="*/ 926 w 1014"/>
                <a:gd name="T25" fmla="*/ 598 h 1240"/>
                <a:gd name="T26" fmla="*/ 998 w 1014"/>
                <a:gd name="T27" fmla="*/ 484 h 1240"/>
                <a:gd name="T28" fmla="*/ 998 w 1014"/>
                <a:gd name="T29" fmla="*/ 458 h 1240"/>
                <a:gd name="T30" fmla="*/ 1014 w 1014"/>
                <a:gd name="T31" fmla="*/ 406 h 1240"/>
                <a:gd name="T32" fmla="*/ 914 w 1014"/>
                <a:gd name="T33" fmla="*/ 404 h 1240"/>
                <a:gd name="T34" fmla="*/ 868 w 1014"/>
                <a:gd name="T35" fmla="*/ 362 h 1240"/>
                <a:gd name="T36" fmla="*/ 876 w 1014"/>
                <a:gd name="T37" fmla="*/ 304 h 1240"/>
                <a:gd name="T38" fmla="*/ 842 w 1014"/>
                <a:gd name="T39" fmla="*/ 260 h 1240"/>
                <a:gd name="T40" fmla="*/ 812 w 1014"/>
                <a:gd name="T41" fmla="*/ 262 h 1240"/>
                <a:gd name="T42" fmla="*/ 696 w 1014"/>
                <a:gd name="T43" fmla="*/ 170 h 1240"/>
                <a:gd name="T44" fmla="*/ 636 w 1014"/>
                <a:gd name="T45" fmla="*/ 44 h 1240"/>
                <a:gd name="T46" fmla="*/ 600 w 1014"/>
                <a:gd name="T47" fmla="*/ 0 h 1240"/>
                <a:gd name="T48" fmla="*/ 570 w 1014"/>
                <a:gd name="T49" fmla="*/ 20 h 1240"/>
                <a:gd name="T50" fmla="*/ 536 w 1014"/>
                <a:gd name="T51" fmla="*/ 34 h 1240"/>
                <a:gd name="T52" fmla="*/ 478 w 1014"/>
                <a:gd name="T53" fmla="*/ 50 h 1240"/>
                <a:gd name="T54" fmla="*/ 444 w 1014"/>
                <a:gd name="T55" fmla="*/ 60 h 1240"/>
                <a:gd name="T56" fmla="*/ 408 w 1014"/>
                <a:gd name="T57" fmla="*/ 56 h 1240"/>
                <a:gd name="T58" fmla="*/ 380 w 1014"/>
                <a:gd name="T59" fmla="*/ 56 h 1240"/>
                <a:gd name="T60" fmla="*/ 330 w 1014"/>
                <a:gd name="T61" fmla="*/ 104 h 1240"/>
                <a:gd name="T62" fmla="*/ 266 w 1014"/>
                <a:gd name="T63" fmla="*/ 146 h 1240"/>
                <a:gd name="T64" fmla="*/ 258 w 1014"/>
                <a:gd name="T65" fmla="*/ 190 h 1240"/>
                <a:gd name="T66" fmla="*/ 270 w 1014"/>
                <a:gd name="T67" fmla="*/ 214 h 1240"/>
                <a:gd name="T68" fmla="*/ 294 w 1014"/>
                <a:gd name="T69" fmla="*/ 266 h 1240"/>
                <a:gd name="T70" fmla="*/ 266 w 1014"/>
                <a:gd name="T71" fmla="*/ 300 h 1240"/>
                <a:gd name="T72" fmla="*/ 278 w 1014"/>
                <a:gd name="T73" fmla="*/ 370 h 1240"/>
                <a:gd name="T74" fmla="*/ 258 w 1014"/>
                <a:gd name="T75" fmla="*/ 474 h 1240"/>
                <a:gd name="T76" fmla="*/ 226 w 1014"/>
                <a:gd name="T77" fmla="*/ 478 h 1240"/>
                <a:gd name="T78" fmla="*/ 202 w 1014"/>
                <a:gd name="T79" fmla="*/ 464 h 1240"/>
                <a:gd name="T80" fmla="*/ 170 w 1014"/>
                <a:gd name="T81" fmla="*/ 460 h 1240"/>
                <a:gd name="T82" fmla="*/ 120 w 1014"/>
                <a:gd name="T83" fmla="*/ 494 h 1240"/>
                <a:gd name="T84" fmla="*/ 76 w 1014"/>
                <a:gd name="T85" fmla="*/ 520 h 1240"/>
                <a:gd name="T86" fmla="*/ 44 w 1014"/>
                <a:gd name="T87" fmla="*/ 528 h 1240"/>
                <a:gd name="T88" fmla="*/ 0 w 1014"/>
                <a:gd name="T89" fmla="*/ 568 h 1240"/>
                <a:gd name="T90" fmla="*/ 48 w 1014"/>
                <a:gd name="T91" fmla="*/ 612 h 1240"/>
                <a:gd name="T92" fmla="*/ 96 w 1014"/>
                <a:gd name="T93" fmla="*/ 602 h 1240"/>
                <a:gd name="T94" fmla="*/ 74 w 1014"/>
                <a:gd name="T95" fmla="*/ 708 h 1240"/>
                <a:gd name="T96" fmla="*/ 88 w 1014"/>
                <a:gd name="T97" fmla="*/ 782 h 1240"/>
                <a:gd name="T98" fmla="*/ 104 w 1014"/>
                <a:gd name="T99" fmla="*/ 824 h 1240"/>
                <a:gd name="T100" fmla="*/ 118 w 1014"/>
                <a:gd name="T101" fmla="*/ 878 h 1240"/>
                <a:gd name="T102" fmla="*/ 128 w 1014"/>
                <a:gd name="T103" fmla="*/ 918 h 1240"/>
                <a:gd name="T104" fmla="*/ 156 w 1014"/>
                <a:gd name="T105" fmla="*/ 1002 h 1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14"/>
                <a:gd name="T160" fmla="*/ 0 h 1240"/>
                <a:gd name="T161" fmla="*/ 1014 w 1014"/>
                <a:gd name="T162" fmla="*/ 1240 h 12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14" h="1240">
                  <a:moveTo>
                    <a:pt x="144" y="1044"/>
                  </a:moveTo>
                  <a:lnTo>
                    <a:pt x="182" y="1036"/>
                  </a:lnTo>
                  <a:lnTo>
                    <a:pt x="380" y="934"/>
                  </a:lnTo>
                  <a:lnTo>
                    <a:pt x="380" y="820"/>
                  </a:lnTo>
                  <a:lnTo>
                    <a:pt x="480" y="704"/>
                  </a:lnTo>
                  <a:lnTo>
                    <a:pt x="478" y="982"/>
                  </a:lnTo>
                  <a:lnTo>
                    <a:pt x="566" y="1080"/>
                  </a:lnTo>
                  <a:lnTo>
                    <a:pt x="518" y="1214"/>
                  </a:lnTo>
                  <a:lnTo>
                    <a:pt x="538" y="1240"/>
                  </a:lnTo>
                  <a:lnTo>
                    <a:pt x="634" y="1240"/>
                  </a:lnTo>
                  <a:lnTo>
                    <a:pt x="642" y="1188"/>
                  </a:lnTo>
                  <a:lnTo>
                    <a:pt x="636" y="1158"/>
                  </a:lnTo>
                  <a:lnTo>
                    <a:pt x="748" y="1040"/>
                  </a:lnTo>
                  <a:lnTo>
                    <a:pt x="734" y="994"/>
                  </a:lnTo>
                  <a:lnTo>
                    <a:pt x="692" y="960"/>
                  </a:lnTo>
                  <a:lnTo>
                    <a:pt x="670" y="972"/>
                  </a:lnTo>
                  <a:lnTo>
                    <a:pt x="640" y="886"/>
                  </a:lnTo>
                  <a:lnTo>
                    <a:pt x="704" y="844"/>
                  </a:lnTo>
                  <a:lnTo>
                    <a:pt x="710" y="792"/>
                  </a:lnTo>
                  <a:lnTo>
                    <a:pt x="788" y="804"/>
                  </a:lnTo>
                  <a:lnTo>
                    <a:pt x="886" y="776"/>
                  </a:lnTo>
                  <a:lnTo>
                    <a:pt x="866" y="748"/>
                  </a:lnTo>
                  <a:lnTo>
                    <a:pt x="904" y="712"/>
                  </a:lnTo>
                  <a:lnTo>
                    <a:pt x="840" y="626"/>
                  </a:lnTo>
                  <a:lnTo>
                    <a:pt x="904" y="586"/>
                  </a:lnTo>
                  <a:lnTo>
                    <a:pt x="926" y="598"/>
                  </a:lnTo>
                  <a:lnTo>
                    <a:pt x="998" y="530"/>
                  </a:lnTo>
                  <a:lnTo>
                    <a:pt x="998" y="484"/>
                  </a:lnTo>
                  <a:lnTo>
                    <a:pt x="950" y="486"/>
                  </a:lnTo>
                  <a:lnTo>
                    <a:pt x="998" y="458"/>
                  </a:lnTo>
                  <a:lnTo>
                    <a:pt x="994" y="424"/>
                  </a:lnTo>
                  <a:lnTo>
                    <a:pt x="1014" y="406"/>
                  </a:lnTo>
                  <a:lnTo>
                    <a:pt x="988" y="376"/>
                  </a:lnTo>
                  <a:lnTo>
                    <a:pt x="914" y="404"/>
                  </a:lnTo>
                  <a:lnTo>
                    <a:pt x="886" y="352"/>
                  </a:lnTo>
                  <a:lnTo>
                    <a:pt x="868" y="362"/>
                  </a:lnTo>
                  <a:lnTo>
                    <a:pt x="842" y="342"/>
                  </a:lnTo>
                  <a:lnTo>
                    <a:pt x="876" y="304"/>
                  </a:lnTo>
                  <a:lnTo>
                    <a:pt x="846" y="288"/>
                  </a:lnTo>
                  <a:lnTo>
                    <a:pt x="842" y="260"/>
                  </a:lnTo>
                  <a:lnTo>
                    <a:pt x="820" y="248"/>
                  </a:lnTo>
                  <a:lnTo>
                    <a:pt x="812" y="262"/>
                  </a:lnTo>
                  <a:lnTo>
                    <a:pt x="726" y="174"/>
                  </a:lnTo>
                  <a:lnTo>
                    <a:pt x="696" y="170"/>
                  </a:lnTo>
                  <a:lnTo>
                    <a:pt x="676" y="76"/>
                  </a:lnTo>
                  <a:lnTo>
                    <a:pt x="636" y="44"/>
                  </a:lnTo>
                  <a:lnTo>
                    <a:pt x="640" y="0"/>
                  </a:lnTo>
                  <a:lnTo>
                    <a:pt x="600" y="0"/>
                  </a:lnTo>
                  <a:lnTo>
                    <a:pt x="578" y="36"/>
                  </a:lnTo>
                  <a:lnTo>
                    <a:pt x="570" y="20"/>
                  </a:lnTo>
                  <a:lnTo>
                    <a:pt x="550" y="48"/>
                  </a:lnTo>
                  <a:lnTo>
                    <a:pt x="536" y="34"/>
                  </a:lnTo>
                  <a:lnTo>
                    <a:pt x="524" y="58"/>
                  </a:lnTo>
                  <a:lnTo>
                    <a:pt x="478" y="50"/>
                  </a:lnTo>
                  <a:lnTo>
                    <a:pt x="460" y="80"/>
                  </a:lnTo>
                  <a:lnTo>
                    <a:pt x="444" y="60"/>
                  </a:lnTo>
                  <a:lnTo>
                    <a:pt x="420" y="74"/>
                  </a:lnTo>
                  <a:lnTo>
                    <a:pt x="408" y="56"/>
                  </a:lnTo>
                  <a:lnTo>
                    <a:pt x="392" y="74"/>
                  </a:lnTo>
                  <a:lnTo>
                    <a:pt x="380" y="56"/>
                  </a:lnTo>
                  <a:lnTo>
                    <a:pt x="336" y="64"/>
                  </a:lnTo>
                  <a:lnTo>
                    <a:pt x="330" y="104"/>
                  </a:lnTo>
                  <a:lnTo>
                    <a:pt x="286" y="108"/>
                  </a:lnTo>
                  <a:lnTo>
                    <a:pt x="266" y="146"/>
                  </a:lnTo>
                  <a:lnTo>
                    <a:pt x="254" y="158"/>
                  </a:lnTo>
                  <a:lnTo>
                    <a:pt x="258" y="190"/>
                  </a:lnTo>
                  <a:lnTo>
                    <a:pt x="240" y="216"/>
                  </a:lnTo>
                  <a:lnTo>
                    <a:pt x="270" y="214"/>
                  </a:lnTo>
                  <a:lnTo>
                    <a:pt x="296" y="240"/>
                  </a:lnTo>
                  <a:lnTo>
                    <a:pt x="294" y="266"/>
                  </a:lnTo>
                  <a:lnTo>
                    <a:pt x="266" y="278"/>
                  </a:lnTo>
                  <a:lnTo>
                    <a:pt x="266" y="300"/>
                  </a:lnTo>
                  <a:lnTo>
                    <a:pt x="304" y="336"/>
                  </a:lnTo>
                  <a:lnTo>
                    <a:pt x="278" y="370"/>
                  </a:lnTo>
                  <a:lnTo>
                    <a:pt x="276" y="456"/>
                  </a:lnTo>
                  <a:lnTo>
                    <a:pt x="258" y="474"/>
                  </a:lnTo>
                  <a:lnTo>
                    <a:pt x="240" y="462"/>
                  </a:lnTo>
                  <a:lnTo>
                    <a:pt x="226" y="478"/>
                  </a:lnTo>
                  <a:lnTo>
                    <a:pt x="208" y="480"/>
                  </a:lnTo>
                  <a:lnTo>
                    <a:pt x="202" y="464"/>
                  </a:lnTo>
                  <a:lnTo>
                    <a:pt x="192" y="474"/>
                  </a:lnTo>
                  <a:lnTo>
                    <a:pt x="170" y="460"/>
                  </a:lnTo>
                  <a:lnTo>
                    <a:pt x="144" y="492"/>
                  </a:lnTo>
                  <a:lnTo>
                    <a:pt x="120" y="494"/>
                  </a:lnTo>
                  <a:lnTo>
                    <a:pt x="102" y="522"/>
                  </a:lnTo>
                  <a:lnTo>
                    <a:pt x="76" y="520"/>
                  </a:lnTo>
                  <a:lnTo>
                    <a:pt x="64" y="538"/>
                  </a:lnTo>
                  <a:lnTo>
                    <a:pt x="44" y="528"/>
                  </a:lnTo>
                  <a:lnTo>
                    <a:pt x="32" y="558"/>
                  </a:lnTo>
                  <a:lnTo>
                    <a:pt x="0" y="568"/>
                  </a:lnTo>
                  <a:lnTo>
                    <a:pt x="2" y="588"/>
                  </a:lnTo>
                  <a:lnTo>
                    <a:pt x="48" y="612"/>
                  </a:lnTo>
                  <a:lnTo>
                    <a:pt x="78" y="592"/>
                  </a:lnTo>
                  <a:lnTo>
                    <a:pt x="96" y="602"/>
                  </a:lnTo>
                  <a:lnTo>
                    <a:pt x="96" y="682"/>
                  </a:lnTo>
                  <a:lnTo>
                    <a:pt x="74" y="708"/>
                  </a:lnTo>
                  <a:lnTo>
                    <a:pt x="98" y="748"/>
                  </a:lnTo>
                  <a:lnTo>
                    <a:pt x="88" y="782"/>
                  </a:lnTo>
                  <a:lnTo>
                    <a:pt x="108" y="798"/>
                  </a:lnTo>
                  <a:lnTo>
                    <a:pt x="104" y="824"/>
                  </a:lnTo>
                  <a:lnTo>
                    <a:pt x="90" y="838"/>
                  </a:lnTo>
                  <a:lnTo>
                    <a:pt x="118" y="878"/>
                  </a:lnTo>
                  <a:lnTo>
                    <a:pt x="114" y="900"/>
                  </a:lnTo>
                  <a:lnTo>
                    <a:pt x="128" y="918"/>
                  </a:lnTo>
                  <a:lnTo>
                    <a:pt x="122" y="966"/>
                  </a:lnTo>
                  <a:lnTo>
                    <a:pt x="156" y="1002"/>
                  </a:lnTo>
                  <a:lnTo>
                    <a:pt x="144" y="1044"/>
                  </a:lnTo>
                  <a:close/>
                </a:path>
              </a:pathLst>
            </a:custGeom>
            <a:solidFill>
              <a:srgbClr val="EEA420"/>
            </a:solidFill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13"/>
            <p:cNvSpPr>
              <a:spLocks/>
            </p:cNvSpPr>
            <p:nvPr/>
          </p:nvSpPr>
          <p:spPr bwMode="auto">
            <a:xfrm>
              <a:off x="3386" y="2617"/>
              <a:ext cx="890" cy="1394"/>
            </a:xfrm>
            <a:custGeom>
              <a:avLst/>
              <a:gdLst>
                <a:gd name="T0" fmla="*/ 42 w 948"/>
                <a:gd name="T1" fmla="*/ 924 h 1354"/>
                <a:gd name="T2" fmla="*/ 296 w 948"/>
                <a:gd name="T3" fmla="*/ 1076 h 1354"/>
                <a:gd name="T4" fmla="*/ 356 w 948"/>
                <a:gd name="T5" fmla="*/ 1184 h 1354"/>
                <a:gd name="T6" fmla="*/ 788 w 948"/>
                <a:gd name="T7" fmla="*/ 1286 h 1354"/>
                <a:gd name="T8" fmla="*/ 688 w 948"/>
                <a:gd name="T9" fmla="*/ 874 h 1354"/>
                <a:gd name="T10" fmla="*/ 888 w 948"/>
                <a:gd name="T11" fmla="*/ 368 h 1354"/>
                <a:gd name="T12" fmla="*/ 948 w 948"/>
                <a:gd name="T13" fmla="*/ 336 h 1354"/>
                <a:gd name="T14" fmla="*/ 938 w 948"/>
                <a:gd name="T15" fmla="*/ 268 h 1354"/>
                <a:gd name="T16" fmla="*/ 938 w 948"/>
                <a:gd name="T17" fmla="*/ 174 h 1354"/>
                <a:gd name="T18" fmla="*/ 838 w 948"/>
                <a:gd name="T19" fmla="*/ 146 h 1354"/>
                <a:gd name="T20" fmla="*/ 780 w 948"/>
                <a:gd name="T21" fmla="*/ 144 h 1354"/>
                <a:gd name="T22" fmla="*/ 784 w 948"/>
                <a:gd name="T23" fmla="*/ 204 h 1354"/>
                <a:gd name="T24" fmla="*/ 772 w 948"/>
                <a:gd name="T25" fmla="*/ 246 h 1354"/>
                <a:gd name="T26" fmla="*/ 666 w 948"/>
                <a:gd name="T27" fmla="*/ 252 h 1354"/>
                <a:gd name="T28" fmla="*/ 696 w 948"/>
                <a:gd name="T29" fmla="*/ 196 h 1354"/>
                <a:gd name="T30" fmla="*/ 676 w 948"/>
                <a:gd name="T31" fmla="*/ 198 h 1354"/>
                <a:gd name="T32" fmla="*/ 678 w 948"/>
                <a:gd name="T33" fmla="*/ 120 h 1354"/>
                <a:gd name="T34" fmla="*/ 636 w 948"/>
                <a:gd name="T35" fmla="*/ 114 h 1354"/>
                <a:gd name="T36" fmla="*/ 510 w 948"/>
                <a:gd name="T37" fmla="*/ 66 h 1354"/>
                <a:gd name="T38" fmla="*/ 438 w 948"/>
                <a:gd name="T39" fmla="*/ 36 h 1354"/>
                <a:gd name="T40" fmla="*/ 376 w 948"/>
                <a:gd name="T41" fmla="*/ 16 h 1354"/>
                <a:gd name="T42" fmla="*/ 370 w 948"/>
                <a:gd name="T43" fmla="*/ 76 h 1354"/>
                <a:gd name="T44" fmla="*/ 360 w 948"/>
                <a:gd name="T45" fmla="*/ 108 h 1354"/>
                <a:gd name="T46" fmla="*/ 312 w 948"/>
                <a:gd name="T47" fmla="*/ 176 h 1354"/>
                <a:gd name="T48" fmla="*/ 366 w 948"/>
                <a:gd name="T49" fmla="*/ 220 h 1354"/>
                <a:gd name="T50" fmla="*/ 270 w 948"/>
                <a:gd name="T51" fmla="*/ 274 h 1354"/>
                <a:gd name="T52" fmla="*/ 274 w 948"/>
                <a:gd name="T53" fmla="*/ 406 h 1354"/>
                <a:gd name="T54" fmla="*/ 244 w 948"/>
                <a:gd name="T55" fmla="*/ 468 h 1354"/>
                <a:gd name="T56" fmla="*/ 74 w 948"/>
                <a:gd name="T57" fmla="*/ 478 h 1354"/>
                <a:gd name="T58" fmla="*/ 4 w 948"/>
                <a:gd name="T59" fmla="*/ 574 h 1354"/>
                <a:gd name="T60" fmla="*/ 58 w 948"/>
                <a:gd name="T61" fmla="*/ 644 h 1354"/>
                <a:gd name="T62" fmla="*/ 114 w 948"/>
                <a:gd name="T63" fmla="*/ 730 h 1354"/>
                <a:gd name="T64" fmla="*/ 12 w 948"/>
                <a:gd name="T65" fmla="*/ 878 h 13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48"/>
                <a:gd name="T100" fmla="*/ 0 h 1354"/>
                <a:gd name="T101" fmla="*/ 948 w 948"/>
                <a:gd name="T102" fmla="*/ 1354 h 135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48" h="1354">
                  <a:moveTo>
                    <a:pt x="8" y="930"/>
                  </a:moveTo>
                  <a:lnTo>
                    <a:pt x="42" y="924"/>
                  </a:lnTo>
                  <a:lnTo>
                    <a:pt x="176" y="1070"/>
                  </a:lnTo>
                  <a:lnTo>
                    <a:pt x="296" y="1076"/>
                  </a:lnTo>
                  <a:lnTo>
                    <a:pt x="294" y="1180"/>
                  </a:lnTo>
                  <a:lnTo>
                    <a:pt x="356" y="1184"/>
                  </a:lnTo>
                  <a:lnTo>
                    <a:pt x="446" y="1354"/>
                  </a:lnTo>
                  <a:lnTo>
                    <a:pt x="788" y="1286"/>
                  </a:lnTo>
                  <a:lnTo>
                    <a:pt x="832" y="1130"/>
                  </a:lnTo>
                  <a:lnTo>
                    <a:pt x="688" y="874"/>
                  </a:lnTo>
                  <a:lnTo>
                    <a:pt x="662" y="758"/>
                  </a:lnTo>
                  <a:lnTo>
                    <a:pt x="888" y="368"/>
                  </a:lnTo>
                  <a:lnTo>
                    <a:pt x="940" y="372"/>
                  </a:lnTo>
                  <a:lnTo>
                    <a:pt x="948" y="336"/>
                  </a:lnTo>
                  <a:lnTo>
                    <a:pt x="924" y="302"/>
                  </a:lnTo>
                  <a:lnTo>
                    <a:pt x="938" y="268"/>
                  </a:lnTo>
                  <a:lnTo>
                    <a:pt x="924" y="224"/>
                  </a:lnTo>
                  <a:lnTo>
                    <a:pt x="938" y="174"/>
                  </a:lnTo>
                  <a:lnTo>
                    <a:pt x="864" y="132"/>
                  </a:lnTo>
                  <a:lnTo>
                    <a:pt x="838" y="146"/>
                  </a:lnTo>
                  <a:lnTo>
                    <a:pt x="808" y="128"/>
                  </a:lnTo>
                  <a:lnTo>
                    <a:pt x="780" y="144"/>
                  </a:lnTo>
                  <a:lnTo>
                    <a:pt x="800" y="166"/>
                  </a:lnTo>
                  <a:lnTo>
                    <a:pt x="784" y="204"/>
                  </a:lnTo>
                  <a:lnTo>
                    <a:pt x="802" y="228"/>
                  </a:lnTo>
                  <a:lnTo>
                    <a:pt x="772" y="246"/>
                  </a:lnTo>
                  <a:lnTo>
                    <a:pt x="684" y="268"/>
                  </a:lnTo>
                  <a:lnTo>
                    <a:pt x="666" y="252"/>
                  </a:lnTo>
                  <a:lnTo>
                    <a:pt x="678" y="222"/>
                  </a:lnTo>
                  <a:lnTo>
                    <a:pt x="696" y="196"/>
                  </a:lnTo>
                  <a:lnTo>
                    <a:pt x="688" y="182"/>
                  </a:lnTo>
                  <a:lnTo>
                    <a:pt x="676" y="198"/>
                  </a:lnTo>
                  <a:lnTo>
                    <a:pt x="648" y="162"/>
                  </a:lnTo>
                  <a:lnTo>
                    <a:pt x="678" y="120"/>
                  </a:lnTo>
                  <a:lnTo>
                    <a:pt x="660" y="96"/>
                  </a:lnTo>
                  <a:lnTo>
                    <a:pt x="636" y="114"/>
                  </a:lnTo>
                  <a:lnTo>
                    <a:pt x="546" y="40"/>
                  </a:lnTo>
                  <a:lnTo>
                    <a:pt x="510" y="66"/>
                  </a:lnTo>
                  <a:lnTo>
                    <a:pt x="474" y="20"/>
                  </a:lnTo>
                  <a:lnTo>
                    <a:pt x="438" y="36"/>
                  </a:lnTo>
                  <a:lnTo>
                    <a:pt x="400" y="0"/>
                  </a:lnTo>
                  <a:lnTo>
                    <a:pt x="376" y="16"/>
                  </a:lnTo>
                  <a:lnTo>
                    <a:pt x="400" y="46"/>
                  </a:lnTo>
                  <a:lnTo>
                    <a:pt x="370" y="76"/>
                  </a:lnTo>
                  <a:lnTo>
                    <a:pt x="384" y="100"/>
                  </a:lnTo>
                  <a:lnTo>
                    <a:pt x="360" y="108"/>
                  </a:lnTo>
                  <a:lnTo>
                    <a:pt x="370" y="146"/>
                  </a:lnTo>
                  <a:lnTo>
                    <a:pt x="312" y="176"/>
                  </a:lnTo>
                  <a:lnTo>
                    <a:pt x="366" y="174"/>
                  </a:lnTo>
                  <a:lnTo>
                    <a:pt x="366" y="220"/>
                  </a:lnTo>
                  <a:lnTo>
                    <a:pt x="290" y="294"/>
                  </a:lnTo>
                  <a:lnTo>
                    <a:pt x="270" y="274"/>
                  </a:lnTo>
                  <a:lnTo>
                    <a:pt x="206" y="312"/>
                  </a:lnTo>
                  <a:lnTo>
                    <a:pt x="274" y="406"/>
                  </a:lnTo>
                  <a:lnTo>
                    <a:pt x="232" y="440"/>
                  </a:lnTo>
                  <a:lnTo>
                    <a:pt x="244" y="468"/>
                  </a:lnTo>
                  <a:lnTo>
                    <a:pt x="156" y="492"/>
                  </a:lnTo>
                  <a:lnTo>
                    <a:pt x="74" y="478"/>
                  </a:lnTo>
                  <a:lnTo>
                    <a:pt x="68" y="530"/>
                  </a:lnTo>
                  <a:lnTo>
                    <a:pt x="4" y="574"/>
                  </a:lnTo>
                  <a:lnTo>
                    <a:pt x="38" y="664"/>
                  </a:lnTo>
                  <a:lnTo>
                    <a:pt x="58" y="644"/>
                  </a:lnTo>
                  <a:lnTo>
                    <a:pt x="104" y="690"/>
                  </a:lnTo>
                  <a:lnTo>
                    <a:pt x="114" y="730"/>
                  </a:lnTo>
                  <a:lnTo>
                    <a:pt x="0" y="848"/>
                  </a:lnTo>
                  <a:lnTo>
                    <a:pt x="12" y="878"/>
                  </a:lnTo>
                  <a:lnTo>
                    <a:pt x="8" y="930"/>
                  </a:lnTo>
                  <a:close/>
                </a:path>
              </a:pathLst>
            </a:custGeom>
            <a:noFill/>
            <a:ln w="19050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46800" tIns="46800" rIns="46800" bIns="4680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7" name="Plus 26"/>
          <p:cNvSpPr/>
          <p:nvPr/>
        </p:nvSpPr>
        <p:spPr>
          <a:xfrm>
            <a:off x="5689822" y="4180663"/>
            <a:ext cx="494661" cy="504966"/>
          </a:xfrm>
          <a:prstGeom prst="mathPlus">
            <a:avLst/>
          </a:prstGeom>
          <a:solidFill>
            <a:srgbClr val="01448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prstClr val="white"/>
              </a:solidFill>
            </a:endParaRPr>
          </a:p>
        </p:txBody>
      </p:sp>
      <p:sp>
        <p:nvSpPr>
          <p:cNvPr id="28" name="Plus 27"/>
          <p:cNvSpPr/>
          <p:nvPr/>
        </p:nvSpPr>
        <p:spPr>
          <a:xfrm>
            <a:off x="5082060" y="3141578"/>
            <a:ext cx="494661" cy="504966"/>
          </a:xfrm>
          <a:prstGeom prst="mathPlus">
            <a:avLst/>
          </a:prstGeom>
          <a:solidFill>
            <a:srgbClr val="01448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prstClr val="white"/>
              </a:solidFill>
            </a:endParaRPr>
          </a:p>
        </p:txBody>
      </p:sp>
      <p:sp>
        <p:nvSpPr>
          <p:cNvPr id="29" name="Plus 28"/>
          <p:cNvSpPr/>
          <p:nvPr/>
        </p:nvSpPr>
        <p:spPr>
          <a:xfrm>
            <a:off x="5269006" y="2094791"/>
            <a:ext cx="494661" cy="504966"/>
          </a:xfrm>
          <a:prstGeom prst="mathPlus">
            <a:avLst/>
          </a:prstGeom>
          <a:solidFill>
            <a:srgbClr val="01448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prstClr val="white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512399" y="2392800"/>
            <a:ext cx="15893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b="1" dirty="0" smtClean="0">
                <a:solidFill>
                  <a:prstClr val="black"/>
                </a:solidFill>
              </a:rPr>
              <a:t>Wommelgem</a:t>
            </a:r>
            <a:endParaRPr lang="fr-BE" sz="1200" b="1" dirty="0">
              <a:solidFill>
                <a:prstClr val="black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405488" y="3170726"/>
            <a:ext cx="815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b="1" dirty="0" smtClean="0">
                <a:solidFill>
                  <a:prstClr val="black"/>
                </a:solidFill>
              </a:rPr>
              <a:t>Vorst</a:t>
            </a:r>
            <a:endParaRPr lang="fr-BE" sz="1200" b="1" dirty="0">
              <a:solidFill>
                <a:prstClr val="black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977308" y="4523243"/>
            <a:ext cx="1301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b="1" dirty="0" err="1" smtClean="0">
                <a:solidFill>
                  <a:prstClr val="black"/>
                </a:solidFill>
              </a:rPr>
              <a:t>Floriffoux</a:t>
            </a:r>
            <a:endParaRPr lang="fr-BE" sz="1200" b="1" dirty="0">
              <a:solidFill>
                <a:prstClr val="black"/>
              </a:solidFill>
            </a:endParaRPr>
          </a:p>
        </p:txBody>
      </p:sp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667293">
            <a:off x="4992514" y="2389019"/>
            <a:ext cx="594149" cy="165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1618" name="Picture 2" descr="http://blauwekruiswommelgem.be/images/sl37332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443" y="1533032"/>
            <a:ext cx="2589508" cy="167322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pic>
        <p:nvPicPr>
          <p:cNvPr id="111620" name="Picture 4" descr="http://blauwekruiswommelgem.be/images/sl373325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859"/>
          <a:stretch/>
        </p:blipFill>
        <p:spPr bwMode="auto">
          <a:xfrm>
            <a:off x="774443" y="3762205"/>
            <a:ext cx="2589508" cy="182996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pic>
        <p:nvPicPr>
          <p:cNvPr id="37" name="Picture 1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5097052">
            <a:off x="4323888" y="1667872"/>
            <a:ext cx="432919" cy="1586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Picture 1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2614033">
            <a:off x="4442796" y="2121780"/>
            <a:ext cx="432919" cy="2180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1621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9316" y="4232798"/>
            <a:ext cx="2871503" cy="193560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pic>
        <p:nvPicPr>
          <p:cNvPr id="39" name="Picture 4" descr="http://yellower.se/wp-content/uploads/2011/12/note_post_it_desktop_2115x1871_wallpaper-80493.jpg"/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6443547" y="750666"/>
            <a:ext cx="2657529" cy="3303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 rot="21436747">
            <a:off x="6732011" y="1426559"/>
            <a:ext cx="221649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err="1"/>
              <a:t>Founded</a:t>
            </a:r>
            <a:r>
              <a:rPr lang="fr-BE" sz="1600" b="1" dirty="0"/>
              <a:t> in 1961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err="1"/>
              <a:t>Renovated</a:t>
            </a:r>
            <a:r>
              <a:rPr lang="fr-BE" sz="1600" b="1" dirty="0"/>
              <a:t> in </a:t>
            </a:r>
            <a:r>
              <a:rPr lang="fr-BE" sz="1600" b="1" dirty="0" smtClean="0"/>
              <a:t>1996</a:t>
            </a:r>
          </a:p>
          <a:p>
            <a:endParaRPr lang="fr-BE" sz="16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smtClean="0"/>
              <a:t>60 </a:t>
            </a:r>
            <a:r>
              <a:rPr lang="fr-BE" sz="1600" b="1" dirty="0" err="1" smtClean="0"/>
              <a:t>dogs</a:t>
            </a:r>
            <a:r>
              <a:rPr lang="fr-BE" sz="1600" b="1" dirty="0" smtClean="0"/>
              <a:t> cag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smtClean="0"/>
              <a:t>40 cats cages </a:t>
            </a:r>
            <a:br>
              <a:rPr lang="fr-BE" sz="1600" b="1" dirty="0" smtClean="0"/>
            </a:br>
            <a:r>
              <a:rPr lang="fr-BE" sz="1600" b="1" dirty="0" smtClean="0"/>
              <a:t>+ 1 chatterie (20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fr-BE" sz="1600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smtClean="0"/>
              <a:t>682 </a:t>
            </a:r>
            <a:r>
              <a:rPr lang="fr-BE" sz="1600" b="1" dirty="0" err="1" smtClean="0"/>
              <a:t>dogs</a:t>
            </a:r>
            <a:r>
              <a:rPr lang="fr-BE" sz="1600" b="1" dirty="0" smtClean="0"/>
              <a:t>/</a:t>
            </a:r>
            <a:r>
              <a:rPr lang="fr-BE" sz="1600" b="1" dirty="0" err="1" smtClean="0"/>
              <a:t>year</a:t>
            </a:r>
            <a:endParaRPr lang="fr-BE" sz="1600" b="1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fr-BE" sz="1600" b="1" dirty="0" smtClean="0"/>
              <a:t>642 cats/</a:t>
            </a:r>
            <a:r>
              <a:rPr lang="fr-BE" sz="1600" b="1" dirty="0" err="1" smtClean="0"/>
              <a:t>year</a:t>
            </a:r>
            <a:endParaRPr lang="fr-BE" sz="1600" b="1" dirty="0" smtClean="0"/>
          </a:p>
          <a:p>
            <a:endParaRPr lang="fr-BE" b="1" dirty="0" smtClean="0"/>
          </a:p>
        </p:txBody>
      </p:sp>
      <p:pic>
        <p:nvPicPr>
          <p:cNvPr id="33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16"/>
          <a:stretch/>
        </p:blipFill>
        <p:spPr bwMode="auto">
          <a:xfrm>
            <a:off x="0" y="6611275"/>
            <a:ext cx="9729788" cy="83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2" descr="C:\Users\vanhunie\Desktop\MARPRD0476 Template ppt A4A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258" t="72321" r="36826" b="7937"/>
          <a:stretch/>
        </p:blipFill>
        <p:spPr bwMode="auto">
          <a:xfrm>
            <a:off x="774443" y="121494"/>
            <a:ext cx="1032263" cy="1041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ounded Rectangle 2"/>
          <p:cNvSpPr/>
          <p:nvPr/>
        </p:nvSpPr>
        <p:spPr>
          <a:xfrm>
            <a:off x="2108142" y="174602"/>
            <a:ext cx="6900478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b="1" dirty="0" smtClean="0">
                <a:solidFill>
                  <a:schemeClr val="bg1"/>
                </a:solidFill>
              </a:rPr>
              <a:t>NATIONALE PARTNER – WOMMELGEM VOOR NOORDEN BELGIË</a:t>
            </a:r>
            <a:endParaRPr lang="nl-B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689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PERSIZE" val="Letter"/>
  <p:tag name="BACKGROUNDCOLOR" val="-1"/>
  <p:tag name="BACKGROUNDINTENSITY" val="Light"/>
  <p:tag name="PRESENTATIONTYPE" val="BoardWhite"/>
  <p:tag name="OFFICECODE" val="True"/>
  <p:tag name="FOOTER" val="True"/>
  <p:tag name="OFFICES" val="Atlanta;Boston;Chicago;San Francisco;Palo Alto;Dallas;Houston;Los Angeles;Mexico City;Manila;New York;Toronto"/>
  <p:tag name="OFFICE" val="Boston"/>
  <p:tag name="VERSION" val="5.0"/>
  <p:tag name="CHECKEDTHEME" val="Thème Offi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0:48:32 AM"/>
  <p:tag name="VCT-TEMPLATE" val="Bain Letter.potx"/>
  <p:tag name="VCTMASTER" val="Bain Letter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heme/theme1.xml><?xml version="1.0" encoding="utf-8"?>
<a:theme xmlns:a="http://schemas.openxmlformats.org/drawingml/2006/main" name="3_Default Design">
  <a:themeElements>
    <a:clrScheme name="2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5595"/>
        </a:solidFill>
        <a:ln w="19050">
          <a:solidFill>
            <a:schemeClr val="tx1"/>
          </a:solidFill>
          <a:miter lim="800000"/>
          <a:headEnd/>
          <a:tailEnd/>
        </a:ln>
        <a:effectLst/>
      </a:spPr>
      <a:bodyPr rot="10800000" vert="eaVert" lIns="42588" tIns="42588" rIns="42588" bIns="42588" anchor="ctr"/>
      <a:lstStyle>
        <a:defPPr algn="ctr">
          <a:defRPr b="1" dirty="0" smtClean="0">
            <a:solidFill>
              <a:schemeClr val="tx2"/>
            </a:solidFill>
            <a:latin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83185" tIns="41592" rIns="83185" bIns="41592" numCol="1" anchor="t" anchorCtr="0" compatLnSpc="1">
        <a:prstTxWarp prst="textNoShape">
          <a:avLst/>
        </a:prstTxWarp>
      </a:bodyPr>
      <a:lstStyle>
        <a:defPPr marL="165100" marR="0" indent="-165100" algn="r" defTabSz="83185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BE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Marsfont" pitchFamily="2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800" b="0" dirty="0" smtClean="0">
            <a:latin typeface="Calibri" pitchFamily="34" charset="0"/>
          </a:defRPr>
        </a:defPPr>
      </a:lstStyle>
    </a:tx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9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2_Letter Client White">
  <a:themeElements>
    <a:clrScheme name="bain_latest">
      <a:dk1>
        <a:sysClr val="windowText" lastClr="000000"/>
      </a:dk1>
      <a:lt1>
        <a:srgbClr val="DDDDDD"/>
      </a:lt1>
      <a:dk2>
        <a:srgbClr val="FFFFFF"/>
      </a:dk2>
      <a:lt2>
        <a:srgbClr val="FFFFFF"/>
      </a:lt2>
      <a:accent1>
        <a:srgbClr val="DDDDDD"/>
      </a:accent1>
      <a:accent2>
        <a:srgbClr val="FFFFFF"/>
      </a:accent2>
      <a:accent3>
        <a:srgbClr val="CC0000"/>
      </a:accent3>
      <a:accent4>
        <a:srgbClr val="B2B2B2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19050">
          <a:noFill/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item1.xml><?xml version="1.0" encoding="utf-8"?>
<Showfilename>true</Showfilename>
</file>

<file path=customXml/item2.xml><?xml version="1.0" encoding="utf-8"?>
<Showofficecode>true</Showofficecode>
</file>

<file path=customXml/item3.xml><?xml version="1.0" encoding="utf-8"?>
<Showfilename>true</Showfilename>
</file>

<file path=customXml/item4.xml><?xml version="1.0" encoding="utf-8"?>
<Showofficecode>true</Showofficecode>
</file>

<file path=customXml/item5.xml><?xml version="1.0" encoding="utf-8"?>
<Showfilename>true</Showfilename>
</file>

<file path=customXml/item6.xml><?xml version="1.0" encoding="utf-8"?>
<Showofficecode>true</Showofficecode>
</file>

<file path=customXml/item7.xml><?xml version="1.0" encoding="utf-8"?>
<Showofficecode>true</Showofficecode>
</file>

<file path=customXml/item8.xml><?xml version="1.0" encoding="utf-8"?>
<Showfilename>true</Showfilename>
</file>

<file path=customXml/itemProps1.xml><?xml version="1.0" encoding="utf-8"?>
<ds:datastoreItem xmlns:ds="http://schemas.openxmlformats.org/officeDocument/2006/customXml" ds:itemID="{3901282E-147A-4FA6-B618-E0C38D172524}">
  <ds:schemaRefs/>
</ds:datastoreItem>
</file>

<file path=customXml/itemProps2.xml><?xml version="1.0" encoding="utf-8"?>
<ds:datastoreItem xmlns:ds="http://schemas.openxmlformats.org/officeDocument/2006/customXml" ds:itemID="{8265D9CB-8F72-48C6-ADC6-6C8FF72DB0BB}">
  <ds:schemaRefs/>
</ds:datastoreItem>
</file>

<file path=customXml/itemProps3.xml><?xml version="1.0" encoding="utf-8"?>
<ds:datastoreItem xmlns:ds="http://schemas.openxmlformats.org/officeDocument/2006/customXml" ds:itemID="{5FB77CC3-5A50-4C13-8402-B899F33770A9}">
  <ds:schemaRefs/>
</ds:datastoreItem>
</file>

<file path=customXml/itemProps4.xml><?xml version="1.0" encoding="utf-8"?>
<ds:datastoreItem xmlns:ds="http://schemas.openxmlformats.org/officeDocument/2006/customXml" ds:itemID="{0411BF7E-0402-4C8B-93F6-9A3BB6A005AF}">
  <ds:schemaRefs/>
</ds:datastoreItem>
</file>

<file path=customXml/itemProps5.xml><?xml version="1.0" encoding="utf-8"?>
<ds:datastoreItem xmlns:ds="http://schemas.openxmlformats.org/officeDocument/2006/customXml" ds:itemID="{BA1325CD-44BD-4AC7-A026-DF0F163D60C8}">
  <ds:schemaRefs/>
</ds:datastoreItem>
</file>

<file path=customXml/itemProps6.xml><?xml version="1.0" encoding="utf-8"?>
<ds:datastoreItem xmlns:ds="http://schemas.openxmlformats.org/officeDocument/2006/customXml" ds:itemID="{F5FD3E1F-0404-4B6F-B39B-A3F84EAD32DD}">
  <ds:schemaRefs/>
</ds:datastoreItem>
</file>

<file path=customXml/itemProps7.xml><?xml version="1.0" encoding="utf-8"?>
<ds:datastoreItem xmlns:ds="http://schemas.openxmlformats.org/officeDocument/2006/customXml" ds:itemID="{3B66F300-9501-467C-9460-18DAB186FB36}">
  <ds:schemaRefs/>
</ds:datastoreItem>
</file>

<file path=customXml/itemProps8.xml><?xml version="1.0" encoding="utf-8"?>
<ds:datastoreItem xmlns:ds="http://schemas.openxmlformats.org/officeDocument/2006/customXml" ds:itemID="{BC39C9A6-B01A-4178-87D3-F26E894918E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12</TotalTime>
  <Words>462</Words>
  <Application>Microsoft Office PowerPoint</Application>
  <PresentationFormat>Custom</PresentationFormat>
  <Paragraphs>159</Paragraphs>
  <Slides>2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2" baseType="lpstr">
      <vt:lpstr>3_Default Design</vt:lpstr>
      <vt:lpstr>9_Thème Office</vt:lpstr>
      <vt:lpstr>12_Letter Client 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ars In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NHUNIE</dc:creator>
  <cp:lastModifiedBy>Dimitri Vleminckx</cp:lastModifiedBy>
  <cp:revision>165</cp:revision>
  <cp:lastPrinted>2014-06-04T11:22:49Z</cp:lastPrinted>
  <dcterms:created xsi:type="dcterms:W3CDTF">2014-04-10T14:26:20Z</dcterms:created>
  <dcterms:modified xsi:type="dcterms:W3CDTF">2014-06-04T15:0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485652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D5.0.5</vt:lpwstr>
  </property>
</Properties>
</file>